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04" r:id="rId2"/>
    <p:sldMasterId id="2147483717" r:id="rId3"/>
    <p:sldMasterId id="2147483732" r:id="rId4"/>
    <p:sldMasterId id="2147483734" r:id="rId5"/>
    <p:sldMasterId id="2147483779" r:id="rId6"/>
    <p:sldMasterId id="2147483829" r:id="rId7"/>
  </p:sldMasterIdLst>
  <p:notesMasterIdLst>
    <p:notesMasterId r:id="rId20"/>
  </p:notesMasterIdLst>
  <p:sldIdLst>
    <p:sldId id="256" r:id="rId8"/>
    <p:sldId id="2147473182" r:id="rId9"/>
    <p:sldId id="2147376436" r:id="rId10"/>
    <p:sldId id="2147473087" r:id="rId11"/>
    <p:sldId id="2147473088" r:id="rId12"/>
    <p:sldId id="2147376445" r:id="rId13"/>
    <p:sldId id="2147473292" r:id="rId14"/>
    <p:sldId id="2147376444" r:id="rId15"/>
    <p:sldId id="2147473116" r:id="rId16"/>
    <p:sldId id="2147473188" r:id="rId17"/>
    <p:sldId id="2147473289" r:id="rId18"/>
    <p:sldId id="2147473290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1"/>
    <p:restoredTop sz="96327"/>
  </p:normalViewPr>
  <p:slideViewPr>
    <p:cSldViewPr snapToGrid="0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5C7744-A279-8747-9A5F-A21A7458DED8}" type="datetimeFigureOut">
              <a:rPr lang="en-US" smtClean="0"/>
              <a:t>5/26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C8ED15-459F-3542-8CD8-F90B6917A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2341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D1D5DB"/>
                </a:solidFill>
                <a:effectLst/>
                <a:latin typeface="Söhne"/>
              </a:rPr>
              <a:t>Superior Performance: Prithvi outperforms the state of the art by up to 15%, providing more accurate results for geospatial analytics task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D1D5DB"/>
                </a:solidFill>
                <a:effectLst/>
                <a:latin typeface="Söhne"/>
              </a:rPr>
              <a:t>Reduced Data Requirements: Prithvi needs up to 50% less labeled data than other models, reducing the cost and effort required to collect and label data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D1D5DB"/>
                </a:solidFill>
                <a:effectLst/>
                <a:latin typeface="Söhne"/>
              </a:rPr>
              <a:t>Faster Data Discovery: Prithvi is 3-4 times faster than other models for data discovery tasks such as reconstruction and in-painting, enabling faster insights and decision-making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D1D5DB"/>
                </a:solidFill>
                <a:effectLst/>
                <a:latin typeface="Söhne"/>
              </a:rPr>
              <a:t>Generalization: Prithvi can generalize across different applications, datasets, and spatial domains, providing a flexible solution for diverse geospatial analytics task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D1D5DB"/>
                </a:solidFill>
                <a:effectLst/>
                <a:latin typeface="Söhne"/>
              </a:rPr>
              <a:t>Pre-built Workflows: Prithvi includes pre-built workflows that can cut development time from months to days, streamlining the model development process for faster time-to-market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E499A5-D9B8-8642-B8C0-A9D52D95E8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65383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48722" indent="-380990">
              <a:buSzPts val="2800"/>
              <a:buFont typeface="Arial" panose="020B0604020202020204" pitchFamily="34" charset="0"/>
              <a:buChar char="•"/>
            </a:pPr>
            <a:r>
              <a:rPr lang="en-US" sz="2133" dirty="0"/>
              <a:t>What is “harmonized”?</a:t>
            </a:r>
          </a:p>
          <a:p>
            <a:pPr marL="1058307" lvl="1" indent="-380990"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2133" dirty="0"/>
              <a:t>Using data from two similar instruments and constructing an algorithm so products from each instrument can be used interchangeably</a:t>
            </a:r>
          </a:p>
          <a:p>
            <a:pPr marL="448722" indent="-380990">
              <a:buSzPts val="2800"/>
              <a:buFont typeface="Arial" panose="020B0604020202020204" pitchFamily="34" charset="0"/>
              <a:buChar char="•"/>
            </a:pPr>
            <a:r>
              <a:rPr lang="en-US" sz="2133" dirty="0"/>
              <a:t>Initiative to produce a virtual constellation of surface reflectance data from Landsat 8 OLI and Sentinel-2 MSI</a:t>
            </a:r>
          </a:p>
          <a:p>
            <a:pPr marL="1058307" lvl="1" indent="-380990">
              <a:spcBef>
                <a:spcPts val="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2133" dirty="0"/>
              <a:t>Spectral similarities of L8 and S2 allow for harmoniz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F59D05-E485-9447-8BEB-9E9FD31524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0081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/>
              <a:t>Data pre-processed and only non-cloud imagery chosen for trai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/>
              <a:t>70-80% of image is masked, similar to vision approach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/>
              <a:t>Spatial and temporal atten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/>
              <a:t>Other approaches being explored: U-shaped autoencoder, FFT based feature extract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F59D05-E485-9447-8BEB-9E9FD31524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354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effectLst/>
                <a:latin typeface="Arial" panose="020B0604020202020204" pitchFamily="34" charset="0"/>
              </a:rPr>
              <a:t>Prithvi Model A performance compared to U-Net-based baseline and </a:t>
            </a:r>
            <a:r>
              <a:rPr lang="en-US" b="0" i="0" dirty="0" err="1">
                <a:effectLst/>
                <a:latin typeface="Arial" panose="020B0604020202020204" pitchFamily="34" charset="0"/>
              </a:rPr>
              <a:t>SoTA</a:t>
            </a:r>
            <a:r>
              <a:rPr lang="en-US" b="0" i="0" dirty="0">
                <a:effectLst/>
                <a:latin typeface="Arial" panose="020B0604020202020204" pitchFamily="34" charset="0"/>
              </a:rPr>
              <a:t> on Sen1Floods11, as well as recent</a:t>
            </a:r>
            <a:br>
              <a:rPr lang="en-US" dirty="0"/>
            </a:br>
            <a:r>
              <a:rPr lang="en-US" b="0" i="0" dirty="0">
                <a:effectLst/>
                <a:latin typeface="Arial" panose="020B0604020202020204" pitchFamily="34" charset="0"/>
              </a:rPr>
              <a:t>vision transformer architecture baselines used off-the-shelf with standard hyperparameters from [20 ]. Performance is</a:t>
            </a:r>
            <a:br>
              <a:rPr lang="en-US" dirty="0"/>
            </a:br>
            <a:r>
              <a:rPr lang="en-US" b="0" i="0" dirty="0">
                <a:effectLst/>
                <a:latin typeface="Arial" panose="020B0604020202020204" pitchFamily="34" charset="0"/>
              </a:rPr>
              <a:t>calculated pixel-wise over the test set accounting for class imbala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pPr marL="0" marR="0" lvl="0" indent="0" algn="l" defTabSz="685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roup Name / DOC ID / Month XX, 2020 / © 2020 IBM Corporatio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413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pPr marL="0" marR="0" lvl="0" indent="0" algn="l" defTabSz="685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roup Name / DOC ID / Month XX, 2020 / © 2020 IBM Corporatio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50117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E499A5-D9B8-8642-B8C0-A9D52D95E8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015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1245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64924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92207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47128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426436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21499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12273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867">
                <a:solidFill>
                  <a:schemeClr val="tx1"/>
                </a:solidFill>
              </a:defRPr>
            </a:lvl1pPr>
            <a:lvl2pPr>
              <a:spcBef>
                <a:spcPts val="1467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1467"/>
              </a:spcBef>
              <a:defRPr sz="1867">
                <a:solidFill>
                  <a:schemeClr val="tx1"/>
                </a:solidFill>
              </a:defRPr>
            </a:lvl3pPr>
            <a:lvl4pPr>
              <a:spcBef>
                <a:spcPts val="1467"/>
              </a:spcBef>
              <a:defRPr sz="1867">
                <a:solidFill>
                  <a:schemeClr val="tx1"/>
                </a:solidFill>
              </a:defRPr>
            </a:lvl4pPr>
            <a:lvl5pPr>
              <a:spcBef>
                <a:spcPts val="1467"/>
              </a:spcBef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4460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333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333">
                <a:solidFill>
                  <a:schemeClr val="tx1"/>
                </a:solidFill>
              </a:defRPr>
            </a:lvl3pPr>
            <a:lvl4pPr>
              <a:spcBef>
                <a:spcPts val="400"/>
              </a:spcBef>
              <a:defRPr sz="1333">
                <a:solidFill>
                  <a:schemeClr val="tx1"/>
                </a:solidFill>
              </a:defRPr>
            </a:lvl4pPr>
            <a:lvl5pPr>
              <a:spcBef>
                <a:spcPts val="400"/>
              </a:spcBef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4654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27220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57976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57117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10502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68807" indent="0">
              <a:buNone/>
              <a:defRPr/>
            </a:lvl3pPr>
            <a:lvl4pPr marL="579946" indent="0">
              <a:buNone/>
              <a:defRPr/>
            </a:lvl4pPr>
            <a:lvl5pPr marL="8424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>
                <a:solidFill>
                  <a:schemeClr val="tx1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579322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1" y="3083847"/>
            <a:ext cx="1730141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6490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2" y="3083847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6147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1" y="3083848"/>
            <a:ext cx="1730141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82318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 flip="none" rotWithShape="1">
          <a:gsLst>
            <a:gs pos="0">
              <a:srgbClr val="0191FF"/>
            </a:gs>
            <a:gs pos="100000">
              <a:srgbClr val="00569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460805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1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4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3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3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9151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849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19704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4816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0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21394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09"/>
            <a:ext cx="12178064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64510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1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925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10229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1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38253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93972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916" y="5080"/>
            <a:ext cx="12171208" cy="685292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85385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0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1780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0" cy="685677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24145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62027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46458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79488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68531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5594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97048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42728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080957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28794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4835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35263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31666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85283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9103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25356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4420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88061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57080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835350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1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983066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057870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92846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49218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132824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05735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24768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867">
                <a:solidFill>
                  <a:schemeClr val="tx1"/>
                </a:solidFill>
              </a:defRPr>
            </a:lvl1pPr>
            <a:lvl2pPr>
              <a:spcBef>
                <a:spcPts val="1467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1467"/>
              </a:spcBef>
              <a:defRPr sz="1867">
                <a:solidFill>
                  <a:schemeClr val="tx1"/>
                </a:solidFill>
              </a:defRPr>
            </a:lvl3pPr>
            <a:lvl4pPr>
              <a:spcBef>
                <a:spcPts val="1467"/>
              </a:spcBef>
              <a:defRPr sz="1867">
                <a:solidFill>
                  <a:schemeClr val="tx1"/>
                </a:solidFill>
              </a:defRPr>
            </a:lvl4pPr>
            <a:lvl5pPr>
              <a:spcBef>
                <a:spcPts val="1467"/>
              </a:spcBef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3815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65059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333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333">
                <a:solidFill>
                  <a:schemeClr val="tx1"/>
                </a:solidFill>
              </a:defRPr>
            </a:lvl3pPr>
            <a:lvl4pPr>
              <a:spcBef>
                <a:spcPts val="400"/>
              </a:spcBef>
              <a:defRPr sz="1333">
                <a:solidFill>
                  <a:schemeClr val="tx1"/>
                </a:solidFill>
              </a:defRPr>
            </a:lvl4pPr>
            <a:lvl5pPr>
              <a:spcBef>
                <a:spcPts val="400"/>
              </a:spcBef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72028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00070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00448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001524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>
                <a:solidFill>
                  <a:schemeClr val="tx1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93276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7"/>
            <a:ext cx="1730141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7202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1" y="3083847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75152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7"/>
            <a:ext cx="1730141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84117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 flip="none" rotWithShape="1">
          <a:gsLst>
            <a:gs pos="0">
              <a:srgbClr val="0191FF"/>
            </a:gs>
            <a:gs pos="100000">
              <a:srgbClr val="00569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423133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113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288036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10" y="288036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1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3332988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7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1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173873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433116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022783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A476C6-1263-F248-84DC-A8F704C55E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1" y="6257544"/>
            <a:ext cx="2334649" cy="280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79742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Updates">
  <p:cSld name="Updates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9"/>
          <p:cNvSpPr txBox="1"/>
          <p:nvPr/>
        </p:nvSpPr>
        <p:spPr>
          <a:xfrm>
            <a:off x="856067" y="1528867"/>
            <a:ext cx="10722800" cy="48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solidFill>
                <a:srgbClr val="2C3E50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0" lvl="0" indent="0" algn="l" rtl="0">
              <a:spcBef>
                <a:spcPts val="1333"/>
              </a:spcBef>
              <a:spcAft>
                <a:spcPts val="1333"/>
              </a:spcAft>
              <a:buNone/>
            </a:pPr>
            <a:endParaRPr sz="24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61" name="Google Shape;61;p9"/>
          <p:cNvSpPr/>
          <p:nvPr/>
        </p:nvSpPr>
        <p:spPr>
          <a:xfrm>
            <a:off x="5514800" y="1230900"/>
            <a:ext cx="1162400" cy="48800"/>
          </a:xfrm>
          <a:prstGeom prst="rect">
            <a:avLst/>
          </a:prstGeom>
          <a:solidFill>
            <a:srgbClr val="CC412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" name="Google Shape;62;p9"/>
          <p:cNvSpPr txBox="1">
            <a:spLocks noGrp="1"/>
          </p:cNvSpPr>
          <p:nvPr>
            <p:ph type="title"/>
          </p:nvPr>
        </p:nvSpPr>
        <p:spPr>
          <a:xfrm>
            <a:off x="503800" y="269533"/>
            <a:ext cx="11184400" cy="126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9"/>
          <p:cNvSpPr txBox="1">
            <a:spLocks noGrp="1"/>
          </p:cNvSpPr>
          <p:nvPr>
            <p:ph type="body" idx="1"/>
          </p:nvPr>
        </p:nvSpPr>
        <p:spPr>
          <a:xfrm>
            <a:off x="218400" y="1632133"/>
            <a:ext cx="11755200" cy="49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9304817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241" y="609601"/>
            <a:ext cx="10945520" cy="10559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3241" y="1822449"/>
            <a:ext cx="10945520" cy="4630971"/>
          </a:xfrm>
        </p:spPr>
        <p:txBody>
          <a:bodyPr/>
          <a:lstStyle>
            <a:lvl1pPr marL="228594" indent="-228594">
              <a:buFont typeface="Wingdings" panose="05000000000000000000" pitchFamily="2" charset="2"/>
              <a:buChar char="§"/>
              <a:defRPr/>
            </a:lvl1pPr>
            <a:lvl2pPr marL="764098" indent="-306910">
              <a:buFont typeface="Courier New" panose="02070309020205020404" pitchFamily="49" charset="0"/>
              <a:buChar char="o"/>
              <a:defRPr/>
            </a:lvl2pPr>
            <a:lvl3pPr marL="1178955" indent="-270927">
              <a:buFont typeface="Wingdings" panose="05000000000000000000" pitchFamily="2" charset="2"/>
              <a:buChar char="ü"/>
              <a:defRPr/>
            </a:lvl3pPr>
            <a:lvl4pPr marL="1792773" indent="-241294">
              <a:buFont typeface="Arial" panose="020B0604020202020204" pitchFamily="34" charset="0"/>
              <a:buChar char="•"/>
              <a:defRPr/>
            </a:lvl4pPr>
            <a:lvl5pPr marL="2266894" indent="-230712">
              <a:buFont typeface="Arial" panose="020B0604020202020204" pitchFamily="34" charset="0"/>
              <a:buChar char="•"/>
              <a:tabLst>
                <a:tab pos="2266894" algn="l"/>
              </a:tabLs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605565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056905"/>
      </p:ext>
    </p:extLst>
  </p:cSld>
  <p:clrMapOvr>
    <a:masterClrMapping/>
  </p:clrMapOvr>
  <p:transition spd="med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" descr="IBM 8-bar logo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1" y="6257440"/>
            <a:ext cx="695452" cy="275721"/>
          </a:xfrm>
          <a:prstGeom prst="rect">
            <a:avLst/>
          </a:prstGeom>
        </p:spPr>
      </p:pic>
      <p:sp>
        <p:nvSpPr>
          <p:cNvPr id="5" name="Title">
            <a:extLst>
              <a:ext uri="{FF2B5EF4-FFF2-40B4-BE49-F238E27FC236}">
                <a16:creationId xmlns:a16="http://schemas.microsoft.com/office/drawing/2014/main" id="{A612084C-5519-B046-8F37-E31EBE81D15D}"/>
              </a:ext>
            </a:extLst>
          </p:cNvPr>
          <p:cNvSpPr txBox="1">
            <a:spLocks/>
          </p:cNvSpPr>
          <p:nvPr userDrawn="1"/>
        </p:nvSpPr>
        <p:spPr>
          <a:xfrm>
            <a:off x="301881" y="6301047"/>
            <a:ext cx="5522976" cy="4096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pPr defTabSz="1219110"/>
            <a:r>
              <a:rPr lang="en-US" sz="2133" b="1" i="0" kern="0">
                <a:latin typeface="IBM Plex Sans" panose="020B0503050203000203" pitchFamily="34" charset="0"/>
              </a:rPr>
              <a:t>Research</a:t>
            </a:r>
          </a:p>
        </p:txBody>
      </p:sp>
    </p:spTree>
    <p:extLst>
      <p:ext uri="{BB962C8B-B14F-4D97-AF65-F5344CB8AC3E}">
        <p14:creationId xmlns:p14="http://schemas.microsoft.com/office/powerpoint/2010/main" val="196040600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A476C6-1263-F248-84DC-A8F704C55E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4" y="6257544"/>
            <a:ext cx="2334649" cy="280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631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44187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 marL="0" marR="0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lvl1pPr>
            <a:lvl2pPr marL="228586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IBM Plex Sans" charset="-120"/>
              <a:buChar char="–"/>
              <a:tabLst/>
              <a:defRPr/>
            </a:lvl2pPr>
            <a:lvl3pPr marL="457171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lvl3pPr>
            <a:lvl4pPr marL="838150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IBM Plex Sans" charset="-120"/>
              <a:buChar char="–"/>
              <a:tabLst/>
              <a:defRPr/>
            </a:lvl4pPr>
            <a:lvl5pPr marL="1070967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Tx/>
              <a:buFont typeface="IBM Plex Sans" charset="-120"/>
              <a:buChar char="»"/>
              <a:tabLst/>
              <a:defRPr/>
            </a:lvl5pPr>
          </a:lstStyle>
          <a:p>
            <a:pPr marL="0" marR="0" lvl="0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Click to edit Master text styles</a:t>
            </a:r>
          </a:p>
          <a:p>
            <a:pPr marL="0" marR="0" lvl="1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Second level</a:t>
            </a:r>
          </a:p>
          <a:p>
            <a:pPr marL="0" marR="0" lvl="2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Third level</a:t>
            </a:r>
          </a:p>
          <a:p>
            <a:pPr marL="0" marR="0" lvl="3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Fourth level</a:t>
            </a:r>
          </a:p>
          <a:p>
            <a:pPr marL="0" marR="0" lvl="4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Fifth level</a:t>
            </a:r>
            <a:endParaRPr kumimoji="0" lang="en-US" sz="186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 marL="0" marR="0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lvl1pPr>
            <a:lvl2pPr marL="228586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IBM Plex Sans" charset="-120"/>
              <a:buChar char="–"/>
              <a:tabLst/>
              <a:defRPr/>
            </a:lvl2pPr>
            <a:lvl3pPr marL="457171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lvl3pPr>
            <a:lvl4pPr marL="838150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IBM Plex Sans" charset="-120"/>
              <a:buChar char="–"/>
              <a:tabLst/>
              <a:defRPr/>
            </a:lvl4pPr>
            <a:lvl5pPr marL="1070967" marR="0" indent="-231632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FFFFFF"/>
              </a:buClr>
              <a:buSzTx/>
              <a:buFont typeface="IBM Plex Sans" charset="-120"/>
              <a:buChar char="»"/>
              <a:tabLst/>
              <a:defRPr/>
            </a:lvl5pPr>
          </a:lstStyle>
          <a:p>
            <a:pPr marL="0" marR="0" lvl="0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Click to edit Master text styles</a:t>
            </a:r>
          </a:p>
          <a:p>
            <a:pPr marL="0" marR="0" lvl="1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Second level</a:t>
            </a:r>
          </a:p>
          <a:p>
            <a:pPr marL="0" marR="0" lvl="2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Third level</a:t>
            </a:r>
          </a:p>
          <a:p>
            <a:pPr marL="0" marR="0" lvl="3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Fourth level</a:t>
            </a:r>
          </a:p>
          <a:p>
            <a:pPr marL="0" marR="0" lvl="4" indent="0" algn="l" defTabSz="1219110" rtl="0" eaLnBrk="1" fontAlgn="base" latinLnBrk="0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Fifth level</a:t>
            </a:r>
            <a:endParaRPr kumimoji="0" lang="en-US" sz="186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64453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96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1677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09917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96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73071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bg>
      <p:bgPr>
        <a:solidFill>
          <a:srgbClr val="0F62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4" y="121920"/>
            <a:ext cx="11704229" cy="5872480"/>
          </a:xfrm>
        </p:spPr>
        <p:txBody>
          <a:bodyPr/>
          <a:lstStyle>
            <a:lvl1pPr>
              <a:defRPr sz="12800" b="0" i="0"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18085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1" y="268224"/>
            <a:ext cx="7416713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14405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47054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12" y="1658112"/>
            <a:ext cx="5498501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33429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13405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53027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92926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97497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4"/>
            <a:ext cx="5522885" cy="5726176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9641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27937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42520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5920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86107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7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98912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7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7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33637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2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7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7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08328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307548" y="1701803"/>
            <a:ext cx="5480909" cy="4438135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D8762821-155E-254E-9CDA-B342327866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00800" y="1701803"/>
            <a:ext cx="5480909" cy="4438135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064509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67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867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67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" hidden="1">
            <a:extLst>
              <a:ext uri="{FF2B5EF4-FFF2-40B4-BE49-F238E27FC236}">
                <a16:creationId xmlns:a16="http://schemas.microsoft.com/office/drawing/2014/main" id="{0C4F1C52-4E00-9B42-8B21-690C46B2CC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04891" y="268821"/>
            <a:ext cx="5524500" cy="572558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51376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 sz="16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6EA6FF"/>
          </a:solidFill>
        </p:spPr>
        <p:txBody>
          <a:bodyPr lIns="219456" tIns="201168" rIns="228600" bIns="2286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52497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1998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59586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53479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81611"/>
            <a:ext cx="2450592" cy="4312788"/>
          </a:xfrm>
        </p:spPr>
        <p:txBody>
          <a:bodyPr/>
          <a:lstStyle>
            <a:lvl1pPr>
              <a:spcBef>
                <a:spcPts val="400"/>
              </a:spcBef>
              <a:defRPr sz="16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400"/>
              </a:spcBef>
              <a:defRPr sz="1600"/>
            </a:lvl3pPr>
            <a:lvl4pPr>
              <a:spcBef>
                <a:spcPts val="400"/>
              </a:spcBef>
              <a:defRPr sz="1600"/>
            </a:lvl4pPr>
            <a:lvl5pPr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77612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 2"/>
          <p:cNvSpPr>
            <a:spLocks noGrp="1"/>
          </p:cNvSpPr>
          <p:nvPr>
            <p:ph type="body" sz="quarter" idx="13"/>
          </p:nvPr>
        </p:nvSpPr>
        <p:spPr>
          <a:xfrm>
            <a:off x="3340608" y="1681611"/>
            <a:ext cx="2450592" cy="4312788"/>
          </a:xfrm>
        </p:spPr>
        <p:txBody>
          <a:bodyPr/>
          <a:lstStyle>
            <a:lvl1pPr>
              <a:spcBef>
                <a:spcPts val="400"/>
              </a:spcBef>
              <a:defRPr sz="16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400"/>
              </a:spcBef>
              <a:defRPr sz="1600"/>
            </a:lvl3pPr>
            <a:lvl4pPr>
              <a:spcBef>
                <a:spcPts val="400"/>
              </a:spcBef>
              <a:defRPr sz="1600"/>
            </a:lvl4pPr>
            <a:lvl5pPr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16302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32842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68479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909306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501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00" indent="0">
              <a:buNone/>
              <a:defRPr/>
            </a:lvl3pPr>
            <a:lvl4pPr marL="579932" indent="0">
              <a:buNone/>
              <a:defRPr/>
            </a:lvl4pPr>
            <a:lvl5pPr marL="84238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4" y="4274264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fidential / 2022-06-30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46126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lide Title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43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1" y="1186482"/>
            <a:ext cx="10985500" cy="467391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1pPr>
          </a:lstStyle>
          <a:p>
            <a:r>
              <a:t>Slide Subtitle</a:t>
            </a:r>
          </a:p>
        </p:txBody>
      </p:sp>
      <p:sp>
        <p:nvSpPr>
          <p:cNvPr id="44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5368078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0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2977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8340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4520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184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8379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1102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28111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4388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1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01904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95020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70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09"/>
            <a:ext cx="12178064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6146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3968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74412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0623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0943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867">
                <a:solidFill>
                  <a:schemeClr val="tx1"/>
                </a:solidFill>
              </a:defRPr>
            </a:lvl1pPr>
            <a:lvl2pPr>
              <a:spcBef>
                <a:spcPts val="1467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1467"/>
              </a:spcBef>
              <a:defRPr sz="1867">
                <a:solidFill>
                  <a:schemeClr val="tx1"/>
                </a:solidFill>
              </a:defRPr>
            </a:lvl3pPr>
            <a:lvl4pPr>
              <a:spcBef>
                <a:spcPts val="1467"/>
              </a:spcBef>
              <a:defRPr sz="1867">
                <a:solidFill>
                  <a:schemeClr val="tx1"/>
                </a:solidFill>
              </a:defRPr>
            </a:lvl4pPr>
            <a:lvl5pPr>
              <a:spcBef>
                <a:spcPts val="1467"/>
              </a:spcBef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162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333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333">
                <a:solidFill>
                  <a:schemeClr val="tx1"/>
                </a:solidFill>
              </a:defRPr>
            </a:lvl3pPr>
            <a:lvl4pPr>
              <a:spcBef>
                <a:spcPts val="400"/>
              </a:spcBef>
              <a:defRPr sz="1333">
                <a:solidFill>
                  <a:schemeClr val="tx1"/>
                </a:solidFill>
              </a:defRPr>
            </a:lvl4pPr>
            <a:lvl5pPr>
              <a:spcBef>
                <a:spcPts val="400"/>
              </a:spcBef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2854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0052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1062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78024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>
                <a:solidFill>
                  <a:schemeClr val="tx1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558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1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6892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7"/>
            <a:ext cx="1730141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5891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1" y="3083847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5460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7"/>
            <a:ext cx="1730141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1769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 flip="none" rotWithShape="1">
          <a:gsLst>
            <a:gs pos="0">
              <a:srgbClr val="0191FF"/>
            </a:gs>
            <a:gs pos="100000">
              <a:srgbClr val="00569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423133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3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45799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F3B242-8604-944B-EA48-ADD36B1494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FC38E7-902B-75E1-D5AB-B3EFFFF3A4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EF65D7-C471-5900-E4B4-0BC022722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08FEF-21D1-B14F-9129-0416DA7CC18A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8D8F9F-E486-DBDB-00FC-D4A15A875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03B0A-E716-1635-E548-735DA3F49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168BC-A5F2-CD46-A61D-1CA626AE02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5034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1254CE-9559-12A1-D77F-BEE9BEAF6D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0B9DB3-F447-F604-004B-85A1D65377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71195A-79CB-4C1C-E5CA-3FEF33B7A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A4152-B415-0988-64E4-1F6216565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E17B7D-7CC5-CFCC-78E6-F4EADB43C2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9235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F5751-CD96-A3CC-284F-209CBE7D7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CECAA7-84E4-6D1A-0BCF-132212E028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3BAA3F-8E5C-921D-778B-0FFD065F1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A545D6-3861-B13D-14F6-77DB623E8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F233EB-C1B8-2536-BA94-27069CE40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1600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B50BF2-CD02-9AEE-DD4F-9A7460BE2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318D9E-38D9-3B7E-1052-4849269AAF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2A4244-E4EF-9023-B2F6-F671E5A7C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3D8900-47E5-876F-75E8-88BBDBCE1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0EA44-DC10-FB33-0C28-51630FB65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7053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5F2583-3D10-39B8-4907-2B9017FF1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5FE02E-C2AC-F276-DCFC-C1BBA25B22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8705B8-DC96-8929-5554-81FC0F4DD6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1D7059-C283-F016-700B-344F9D2D06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DA0C32-AC65-730C-5361-C2C6DB6F6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9A5F00-0559-05B1-E1B6-41064ACE95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0554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93268-30AE-804D-E73F-33A6CAE0D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AE2F00-8E76-2D5A-CAD0-642331D63D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C0A6F3-7B31-9B50-B167-96807931DC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8228F0-9F36-B614-6F6D-7C0C678A78B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9EAAA5-B288-2B8A-8D5E-F358FCD9C89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43C682-CA82-30FC-E499-F8D2079496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224DF7-E486-2796-D5A2-BEF59313B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9B337E-E288-5C91-84F8-564C6646F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442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1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516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A3D81-F12F-FD5A-4A6A-95A3F05961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E421F0-C27F-8E1D-BA6C-D02A80B5C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C0B502-8F71-5771-45F0-F0410FB6B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50A8D2-72ED-F32E-0E59-AB80C9FA0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415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4CF89C-23FC-187A-945E-9177E42864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270ADB-006C-5E76-9FDE-AD8849A81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F0A8C4-C193-D260-FFEA-D42A45C2D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6443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D28EC1-6C4A-3B33-6718-0A70D5FB7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671E08-5C86-BBE9-3871-DF68A64B0D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8DD3E5-BF49-4FE7-1BC3-5374205A61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AF3B8E-AABC-E47E-F85C-1420EB08E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5AB8C5-342C-D3AD-CC76-FAFC90F49D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46F8C8-2C4E-3BF7-C345-E7F3302F1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8250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5C953-B086-C051-D29C-C9B4F05BC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1B33D8F-3FEB-401C-375E-5A8F55C0C0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96C7BD-99F1-9BA7-BF97-0CCEF9BC15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15151E-CF61-C637-C466-1DDE43007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17D21B-EE94-F3A0-2E9A-6F493E711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C4BAB9-8801-809E-F1FD-A78C9588D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76095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27803-5B94-8588-3ABE-49751EA58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67F2CA-3406-5EA7-9249-D3D6EBD0FF9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C1923A-78DA-E0A1-1A23-A9B955470E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8202C5-409F-3BFD-3D3A-1254E2D9B1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8E401D-461C-1732-B5D8-DBBB5B97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090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FAD7F8C-30FA-5F07-5FEF-B0947A24B95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444D49-4D06-B9A0-3C56-B5D36A1FD4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35ADBC-83B8-3D5F-ECF2-C0E0DDE006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06AA4A-903A-0C5D-793D-B6404467E2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F96428-A713-C069-024E-EB9983C95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5513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1320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FC9B8-A697-EDFB-5019-24C57E078E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31C94A-47FE-DE80-E788-4A541EE1ED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DA6BD8-D3BA-B4F5-2D8D-5ECB0593D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464BC9-03B2-2743-0C81-6620B815AD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A4EDE4-8CC0-07E9-F4A3-366DFF839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1423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7DA11-6A02-6CAC-8870-FB37F05D3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E6D468-ABBE-611E-BB3E-BB062C0813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051B9A-CBB4-6B5F-08F5-B0749AD994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3D9B4F-D7E8-7D12-1171-D40122B6D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A2A31A-CE6A-D646-022B-95FE586955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3110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679D5A-E162-E482-F214-FADB0C1E1C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6ACD61-2FF3-683C-0DF0-A6FF3F9D6F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21B41-6595-7594-C2C3-3ABD95BA6A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6DEEB0-A161-8FE5-87A0-C1E6104FD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5BB51A-8728-012E-8048-430EAFF3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6036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6052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E90D17-F4DA-7742-354D-8DC1FC6E6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624BD6-444D-066C-75FF-EAC8C64785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B2C724-23FE-845D-A830-697BAD6C4C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A1F01D-FF61-760D-5B22-32CD5430B1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CF703E-6C63-ED2D-72B0-E551E5BA0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F2D067-3978-912C-C486-DA563F9FA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0389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1EE90-7A7F-1C49-0C17-20617795C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DE9D5A-1337-3351-68F4-8F8C735C6B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27C938-95DA-FFCF-39F5-83F9964B7E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E5166C-A397-2BC0-92BC-251C3DDDBF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ED780B-9986-D980-3458-8260F792AE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CBA85EA-61E9-15AC-9299-B1199CDFE3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347E3C-B082-E804-ED83-8EA492D26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78B31A4-0008-CC71-414E-C1C5CDC44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02677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39732-7694-C81A-838B-8A909C11B3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6DB19B-5AE1-D27D-B428-296FF6BAF3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3C9411-93F3-F0CD-FA02-D7CDD1ADC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83FDDA-89B6-1144-B52E-78D59251C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37232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F01A1B-978B-3AAF-45FB-862E2C1B4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DB774-CE89-E054-51FB-425CD36DAA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6FCB6E-5412-4BC8-564E-E2A28DBD0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1273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F03D5F-D3C0-A3ED-2030-8694EC5DA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5D9481-3D2F-C576-1394-1A242D63C3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87753-FF89-D2DC-B414-DD04113AAB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885D64-F02D-BC55-5E87-6D7BDF35CD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0DC96F-E610-A9AD-5B9F-FD4BE1008F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24C55F-324F-F973-7ED2-EB737A8C6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7915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4A9494-3452-DFD9-798A-5ACEDF401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EE661E-A234-77F1-301B-D032A38F42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0180D0-7020-E229-0BD7-5E506CE281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C8610F-378E-56D9-3702-1893638723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1DE19C-FC27-405E-C730-0F1E16BA7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80C00C-93DC-C233-4507-60B7A312A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9955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6922D-3F9A-4865-76D0-EB8C1C19C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A1EDFC-04CD-249A-7876-5C1F79E065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BA47FE-150D-E1C9-332C-86057F54D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1EDB53-C9F3-3E52-0255-2371B00C5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0E2AF9-4F61-F26A-FA49-75AE0C036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3756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5937355-B54C-7A55-6712-D10899AB2F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1CAFEE-4F04-451E-A7B0-38F894D429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57CB8-9C27-6DF3-9903-D4F1729A9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E6D61-3B38-1646-1F9C-52393AFA14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84769A-7103-6486-C296-5C6C37992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97414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20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2080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19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1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226" algn="dec"/>
              </a:tabLst>
              <a:defRPr/>
            </a:lvl1pPr>
            <a:lvl2pPr marL="230702" indent="-23070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131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1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226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61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131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54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916" y="5080"/>
            <a:ext cx="12171208" cy="685292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37385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06367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96022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88552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1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72716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09"/>
            <a:ext cx="12178064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5337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1" y="609"/>
            <a:ext cx="12178061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2101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1" y="612"/>
            <a:ext cx="12178061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66841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6462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4634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916" y="5080"/>
            <a:ext cx="12171208" cy="685292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65808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1" y="612"/>
            <a:ext cx="12178060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4600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0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33368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1" y="609"/>
            <a:ext cx="12178060" cy="685677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9710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69426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07" indent="0">
              <a:buNone/>
              <a:defRPr/>
            </a:lvl3pPr>
            <a:lvl4pPr marL="579946" indent="0">
              <a:buNone/>
              <a:defRPr/>
            </a:lvl4pPr>
            <a:lvl5pPr marL="8424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07" indent="0">
              <a:buNone/>
              <a:defRPr/>
            </a:lvl3pPr>
            <a:lvl4pPr marL="579946" indent="0">
              <a:buNone/>
              <a:defRPr/>
            </a:lvl4pPr>
            <a:lvl5pPr marL="8424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41723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29970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26612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588617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4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6079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67743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2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0333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9972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0" cy="685677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1539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88461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52642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78709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51740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59449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73503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26752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70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8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32797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2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8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70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170477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2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90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90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90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4769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7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39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92.xml"/><Relationship Id="rId34" Type="http://schemas.openxmlformats.org/officeDocument/2006/relationships/slideLayout" Target="../slideLayouts/slideLayout105.xml"/><Relationship Id="rId42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slideLayout" Target="../slideLayouts/slideLayout108.xml"/><Relationship Id="rId40" Type="http://schemas.openxmlformats.org/officeDocument/2006/relationships/slideLayout" Target="../slideLayouts/slideLayout111.xml"/><Relationship Id="rId45" Type="http://schemas.openxmlformats.org/officeDocument/2006/relationships/theme" Target="../theme/theme5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31" Type="http://schemas.openxmlformats.org/officeDocument/2006/relationships/slideLayout" Target="../slideLayouts/slideLayout102.xml"/><Relationship Id="rId44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slideLayout" Target="../slideLayouts/slideLayout106.xml"/><Relationship Id="rId43" Type="http://schemas.openxmlformats.org/officeDocument/2006/relationships/slideLayout" Target="../slideLayouts/slideLayout114.xml"/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38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91.xml"/><Relationship Id="rId41" Type="http://schemas.openxmlformats.org/officeDocument/2006/relationships/slideLayout" Target="../slideLayouts/slideLayout11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26" Type="http://schemas.openxmlformats.org/officeDocument/2006/relationships/slideLayout" Target="../slideLayouts/slideLayout141.xml"/><Relationship Id="rId39" Type="http://schemas.openxmlformats.org/officeDocument/2006/relationships/slideLayout" Target="../slideLayouts/slideLayout154.xml"/><Relationship Id="rId21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149.xml"/><Relationship Id="rId42" Type="http://schemas.openxmlformats.org/officeDocument/2006/relationships/slideLayout" Target="../slideLayouts/slideLayout157.xml"/><Relationship Id="rId47" Type="http://schemas.openxmlformats.org/officeDocument/2006/relationships/slideLayout" Target="../slideLayouts/slideLayout162.xml"/><Relationship Id="rId50" Type="http://schemas.openxmlformats.org/officeDocument/2006/relationships/theme" Target="../theme/theme6.xml"/><Relationship Id="rId7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9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39.xml"/><Relationship Id="rId32" Type="http://schemas.openxmlformats.org/officeDocument/2006/relationships/slideLayout" Target="../slideLayouts/slideLayout147.xml"/><Relationship Id="rId37" Type="http://schemas.openxmlformats.org/officeDocument/2006/relationships/slideLayout" Target="../slideLayouts/slideLayout152.xml"/><Relationship Id="rId40" Type="http://schemas.openxmlformats.org/officeDocument/2006/relationships/slideLayout" Target="../slideLayouts/slideLayout155.xml"/><Relationship Id="rId45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slideLayout" Target="../slideLayouts/slideLayout138.xml"/><Relationship Id="rId28" Type="http://schemas.openxmlformats.org/officeDocument/2006/relationships/slideLayout" Target="../slideLayouts/slideLayout143.xml"/><Relationship Id="rId36" Type="http://schemas.openxmlformats.org/officeDocument/2006/relationships/slideLayout" Target="../slideLayouts/slideLayout151.xml"/><Relationship Id="rId49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31" Type="http://schemas.openxmlformats.org/officeDocument/2006/relationships/slideLayout" Target="../slideLayouts/slideLayout146.xml"/><Relationship Id="rId44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slideLayout" Target="../slideLayouts/slideLayout137.xml"/><Relationship Id="rId27" Type="http://schemas.openxmlformats.org/officeDocument/2006/relationships/slideLayout" Target="../slideLayouts/slideLayout142.xml"/><Relationship Id="rId30" Type="http://schemas.openxmlformats.org/officeDocument/2006/relationships/slideLayout" Target="../slideLayouts/slideLayout145.xml"/><Relationship Id="rId35" Type="http://schemas.openxmlformats.org/officeDocument/2006/relationships/slideLayout" Target="../slideLayouts/slideLayout150.xml"/><Relationship Id="rId43" Type="http://schemas.openxmlformats.org/officeDocument/2006/relationships/slideLayout" Target="../slideLayouts/slideLayout158.xml"/><Relationship Id="rId48" Type="http://schemas.openxmlformats.org/officeDocument/2006/relationships/slideLayout" Target="../slideLayouts/slideLayout163.xml"/><Relationship Id="rId8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5" Type="http://schemas.openxmlformats.org/officeDocument/2006/relationships/slideLayout" Target="../slideLayouts/slideLayout140.xml"/><Relationship Id="rId33" Type="http://schemas.openxmlformats.org/officeDocument/2006/relationships/slideLayout" Target="../slideLayouts/slideLayout148.xml"/><Relationship Id="rId38" Type="http://schemas.openxmlformats.org/officeDocument/2006/relationships/slideLayout" Target="../slideLayouts/slideLayout153.xml"/><Relationship Id="rId46" Type="http://schemas.openxmlformats.org/officeDocument/2006/relationships/slideLayout" Target="../slideLayouts/slideLayout161.xml"/><Relationship Id="rId20" Type="http://schemas.openxmlformats.org/officeDocument/2006/relationships/slideLayout" Target="../slideLayouts/slideLayout135.xml"/><Relationship Id="rId41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26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67.xml"/><Relationship Id="rId21" Type="http://schemas.openxmlformats.org/officeDocument/2006/relationships/slideLayout" Target="../slideLayouts/slideLayout185.xml"/><Relationship Id="rId34" Type="http://schemas.openxmlformats.org/officeDocument/2006/relationships/theme" Target="../theme/theme7.xml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slideLayout" Target="../slideLayouts/slideLayout189.xml"/><Relationship Id="rId33" Type="http://schemas.openxmlformats.org/officeDocument/2006/relationships/slideLayout" Target="../slideLayouts/slideLayout197.xml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84.xml"/><Relationship Id="rId29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24" Type="http://schemas.openxmlformats.org/officeDocument/2006/relationships/slideLayout" Target="../slideLayouts/slideLayout188.xml"/><Relationship Id="rId32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69.xml"/><Relationship Id="rId15" Type="http://schemas.openxmlformats.org/officeDocument/2006/relationships/slideLayout" Target="../slideLayouts/slideLayout179.xml"/><Relationship Id="rId23" Type="http://schemas.openxmlformats.org/officeDocument/2006/relationships/slideLayout" Target="../slideLayouts/slideLayout187.xml"/><Relationship Id="rId28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3.xml"/><Relationship Id="rId31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8.xml"/><Relationship Id="rId22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191.xml"/><Relationship Id="rId30" Type="http://schemas.openxmlformats.org/officeDocument/2006/relationships/slideLayout" Target="../slideLayouts/slideLayout194.xml"/><Relationship Id="rId8" Type="http://schemas.openxmlformats.org/officeDocument/2006/relationships/slideLayout" Target="../slideLayouts/slideLayout1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400801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400801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8350546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863" r:id="rId4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DC5517-659D-5DDA-4A70-2F96DED98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A53BD8-6EBF-EEDC-C9DA-756CD6429D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0F6FA2-AA8E-AF92-1E5B-4AB7BDF6D4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6DFF0E-335F-5F44-99E6-269C8FDE11F2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BA12F8-FEA8-9CC5-8D1E-97EFDAF21C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AE6F41-C3C7-6603-69BB-0C06B3A1F7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14449F-61E4-7043-8E7F-4A3F3C9F1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018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F2D7808-6AFD-C0E1-2C8C-9BA702321B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EC55AC-BA4D-FFFB-3622-49805CEA93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0C337E-D077-33C2-04E5-81E8647F08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E86307-E760-FA48-8B28-F1FEF1BC72D3}" type="datetimeFigureOut">
              <a:rPr lang="en-US" smtClean="0"/>
              <a:t>5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40310-48E9-0395-13FD-427DB94D72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1F4C37-A44B-3BD6-4C33-22412C4CA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D8121E-9B13-514C-BF13-3C32714F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728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71279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38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7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1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55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86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171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8150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0967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470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862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250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642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388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780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168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557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6948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334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725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114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">
          <p15:clr>
            <a:srgbClr val="F26B43"/>
          </p15:clr>
        </p15:guide>
        <p15:guide id="2" pos="192">
          <p15:clr>
            <a:srgbClr val="F26B43"/>
          </p15:clr>
        </p15:guide>
        <p15:guide id="3" pos="7488">
          <p15:clr>
            <a:srgbClr val="F26B43"/>
          </p15:clr>
        </p15:guide>
        <p15:guide id="4" orient="horz" pos="3776">
          <p15:clr>
            <a:srgbClr val="F26B43"/>
          </p15:clr>
        </p15:guide>
        <p15:guide id="5" orient="horz" pos="4125">
          <p15:clr>
            <a:srgbClr val="F26B43"/>
          </p15:clr>
        </p15:guide>
        <p15:guide id="6" pos="3840">
          <p15:clr>
            <a:srgbClr val="F26B43"/>
          </p15:clr>
        </p15:guide>
        <p15:guide id="7" pos="3648">
          <p15:clr>
            <a:srgbClr val="F26B43"/>
          </p15:clr>
        </p15:guide>
        <p15:guide id="8" pos="1920">
          <p15:clr>
            <a:srgbClr val="F26B43"/>
          </p15:clr>
        </p15:guide>
        <p15:guide id="9" pos="4032">
          <p15:clr>
            <a:srgbClr val="F26B43"/>
          </p15:clr>
        </p15:guide>
        <p15:guide id="10" pos="1728">
          <p15:clr>
            <a:srgbClr val="F26B43"/>
          </p15:clr>
        </p15:guide>
        <p15:guide id="11" pos="2112">
          <p15:clr>
            <a:srgbClr val="F26B43"/>
          </p15:clr>
        </p15:guide>
        <p15:guide id="12" pos="5760">
          <p15:clr>
            <a:srgbClr val="F26B43"/>
          </p15:clr>
        </p15:guide>
        <p15:guide id="13" pos="5568">
          <p15:clr>
            <a:srgbClr val="F26B43"/>
          </p15:clr>
        </p15:guide>
        <p15:guide id="14" pos="5952">
          <p15:clr>
            <a:srgbClr val="F26B43"/>
          </p15:clr>
        </p15:guide>
        <p15:guide id="15" orient="horz" pos="549">
          <p15:clr>
            <a:srgbClr val="F26B43"/>
          </p15:clr>
        </p15:guide>
        <p15:guide id="17" orient="horz" pos="1083">
          <p15:clr>
            <a:srgbClr val="F26B43"/>
          </p15:clr>
        </p15:guide>
        <p15:guide id="18" orient="horz" pos="2160">
          <p15:clr>
            <a:srgbClr val="F26B43"/>
          </p15:clr>
        </p15:guide>
        <p15:guide id="19" orient="horz" pos="1621">
          <p15:clr>
            <a:srgbClr val="F26B43"/>
          </p15:clr>
        </p15:guide>
        <p15:guide id="20" orient="horz" pos="2696">
          <p15:clr>
            <a:srgbClr val="F26B43"/>
          </p15:clr>
        </p15:guide>
        <p15:guide id="21" orient="horz" pos="32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400802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3 IBM Corporation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400802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3264965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  <p:sldLayoutId id="2147483763" r:id="rId29"/>
    <p:sldLayoutId id="2147483764" r:id="rId30"/>
    <p:sldLayoutId id="2147483765" r:id="rId31"/>
    <p:sldLayoutId id="2147483766" r:id="rId32"/>
    <p:sldLayoutId id="2147483767" r:id="rId33"/>
    <p:sldLayoutId id="2147483768" r:id="rId34"/>
    <p:sldLayoutId id="2147483769" r:id="rId35"/>
    <p:sldLayoutId id="2147483770" r:id="rId36"/>
    <p:sldLayoutId id="2147483771" r:id="rId37"/>
    <p:sldLayoutId id="2147483772" r:id="rId38"/>
    <p:sldLayoutId id="2147483773" r:id="rId39"/>
    <p:sldLayoutId id="2147483774" r:id="rId40"/>
    <p:sldLayoutId id="2147483775" r:id="rId41"/>
    <p:sldLayoutId id="2147483776" r:id="rId42"/>
    <p:sldLayoutId id="2147483777" r:id="rId43"/>
    <p:sldLayoutId id="2147483778" r:id="rId4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0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92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183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8170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0993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22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26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326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730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00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04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04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05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08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06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09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210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400801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400801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5289832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  <p:sldLayoutId id="2147483797" r:id="rId18"/>
    <p:sldLayoutId id="2147483798" r:id="rId19"/>
    <p:sldLayoutId id="2147483799" r:id="rId20"/>
    <p:sldLayoutId id="2147483800" r:id="rId21"/>
    <p:sldLayoutId id="2147483801" r:id="rId22"/>
    <p:sldLayoutId id="2147483802" r:id="rId23"/>
    <p:sldLayoutId id="2147483803" r:id="rId24"/>
    <p:sldLayoutId id="2147483804" r:id="rId25"/>
    <p:sldLayoutId id="2147483805" r:id="rId26"/>
    <p:sldLayoutId id="2147483806" r:id="rId27"/>
    <p:sldLayoutId id="2147483807" r:id="rId28"/>
    <p:sldLayoutId id="2147483808" r:id="rId29"/>
    <p:sldLayoutId id="2147483809" r:id="rId30"/>
    <p:sldLayoutId id="2147483810" r:id="rId31"/>
    <p:sldLayoutId id="2147483811" r:id="rId32"/>
    <p:sldLayoutId id="2147483812" r:id="rId33"/>
    <p:sldLayoutId id="2147483813" r:id="rId34"/>
    <p:sldLayoutId id="2147483814" r:id="rId35"/>
    <p:sldLayoutId id="2147483815" r:id="rId36"/>
    <p:sldLayoutId id="2147483816" r:id="rId37"/>
    <p:sldLayoutId id="2147483817" r:id="rId38"/>
    <p:sldLayoutId id="2147483818" r:id="rId39"/>
    <p:sldLayoutId id="2147483819" r:id="rId40"/>
    <p:sldLayoutId id="2147483820" r:id="rId41"/>
    <p:sldLayoutId id="2147483821" r:id="rId42"/>
    <p:sldLayoutId id="2147483822" r:id="rId43"/>
    <p:sldLayoutId id="2147483823" r:id="rId44"/>
    <p:sldLayoutId id="2147483824" r:id="rId45"/>
    <p:sldLayoutId id="2147483825" r:id="rId46"/>
    <p:sldLayoutId id="2147483826" r:id="rId47"/>
    <p:sldLayoutId id="2147483827" r:id="rId48"/>
    <p:sldLayoutId id="2147483828" r:id="rId49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1" y="6533770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5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67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fidential / 2022-06-30 / © 2022 IBM Corporation</a:t>
            </a:r>
            <a:endParaRPr lang="en-US" sz="667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4" y="6533770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8432918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  <p:sldLayoutId id="2147483849" r:id="rId20"/>
    <p:sldLayoutId id="2147483850" r:id="rId21"/>
    <p:sldLayoutId id="2147483851" r:id="rId22"/>
    <p:sldLayoutId id="2147483852" r:id="rId23"/>
    <p:sldLayoutId id="2147483853" r:id="rId24"/>
    <p:sldLayoutId id="2147483854" r:id="rId25"/>
    <p:sldLayoutId id="2147483855" r:id="rId26"/>
    <p:sldLayoutId id="2147483856" r:id="rId27"/>
    <p:sldLayoutId id="2147483857" r:id="rId28"/>
    <p:sldLayoutId id="2147483858" r:id="rId29"/>
    <p:sldLayoutId id="2147483859" r:id="rId30"/>
    <p:sldLayoutId id="2147483860" r:id="rId31"/>
    <p:sldLayoutId id="2147483861" r:id="rId32"/>
    <p:sldLayoutId id="2147483862" r:id="rId33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67" b="0" i="0">
          <a:solidFill>
            <a:schemeClr val="bg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5pPr>
      <a:lvl6pPr marL="48338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6pPr>
      <a:lvl7pPr marL="9667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7pPr>
      <a:lvl8pPr marL="14501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8pPr>
      <a:lvl9pPr marL="193355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6D6E70"/>
        </a:buClr>
        <a:buSzPct val="90000"/>
        <a:buFont typeface="IBM Plex Sans" pitchFamily="2" charset="2"/>
        <a:buNone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586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IBM Plex Sans" charset="-120"/>
        <a:buChar char="–"/>
        <a:tabLst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7171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8150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IBM Plex Sans" charset="-120"/>
        <a:buChar char="–"/>
        <a:tabLst/>
        <a:defRPr sz="1867" baseline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70967" indent="-23163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Font typeface="IBM Plex Sans" charset="-120"/>
        <a:buChar char="»"/>
        <a:tabLst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11470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" charset="0"/>
        </a:defRPr>
      </a:lvl6pPr>
      <a:lvl7pPr marL="2594862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" charset="0"/>
        </a:defRPr>
      </a:lvl7pPr>
      <a:lvl8pPr marL="3078250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" charset="0"/>
        </a:defRPr>
      </a:lvl8pPr>
      <a:lvl9pPr marL="3561642" indent="-17288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" charset="0"/>
        </a:defRPr>
      </a:lvl9pPr>
    </p:bodyStyle>
    <p:otherStyle>
      <a:defPPr>
        <a:defRPr lang="en-US"/>
      </a:defPPr>
      <a:lvl1pPr marL="0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388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780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168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557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6948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334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725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114" algn="l" defTabSz="966780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44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14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5.xml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5.xml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8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5736F-FBC2-7EC8-D984-CC19445EC66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002D9C"/>
                </a:solidFill>
                <a:latin typeface="IBM Plex Sans Light"/>
              </a:rPr>
              <a:t>Geospatial Foundation Model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0CFB48-BC11-43C8-4FB3-95E151809B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701429"/>
            <a:ext cx="9144000" cy="1655762"/>
          </a:xfrm>
        </p:spPr>
        <p:txBody>
          <a:bodyPr/>
          <a:lstStyle/>
          <a:p>
            <a:r>
              <a:rPr lang="en-US" sz="2400" b="1" dirty="0">
                <a:solidFill>
                  <a:srgbClr val="002D9C"/>
                </a:solidFill>
                <a:latin typeface="IBM Plex Sans"/>
              </a:rPr>
              <a:t>IBM x NAS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0327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EE504E-48E4-0BC9-D29D-6C8F02BF7F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52228"/>
            <a:ext cx="6648755" cy="1481070"/>
          </a:xfrm>
        </p:spPr>
        <p:txBody>
          <a:bodyPr anchor="t">
            <a:noAutofit/>
          </a:bodyPr>
          <a:lstStyle/>
          <a:p>
            <a:r>
              <a:rPr kumimoji="0" lang="en-US" sz="4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nference insights by Prithvi – Fire Scar Mapping</a:t>
            </a:r>
            <a:endParaRPr lang="en-US" sz="4000" dirty="0">
              <a:latin typeface="IBM Plex Sans" panose="020B0503050203000203" pitchFamily="34" charset="0"/>
            </a:endParaRPr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F2D6CCBA-52C0-8131-BA5B-136BFFEA7631}"/>
              </a:ext>
            </a:extLst>
          </p:cNvPr>
          <p:cNvSpPr txBox="1">
            <a:spLocks/>
          </p:cNvSpPr>
          <p:nvPr/>
        </p:nvSpPr>
        <p:spPr>
          <a:xfrm>
            <a:off x="9143911" y="6383868"/>
            <a:ext cx="2743200" cy="24996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charset="0"/>
              </a:rPr>
              <a:pPr marL="0" marR="0" lvl="0" indent="0" algn="r" defTabSz="9146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Arial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81A609E-C504-0FDE-46D0-6E233EA4F163}"/>
              </a:ext>
            </a:extLst>
          </p:cNvPr>
          <p:cNvCxnSpPr>
            <a:cxnSpLocks/>
            <a:stCxn id="16" idx="0"/>
          </p:cNvCxnSpPr>
          <p:nvPr/>
        </p:nvCxnSpPr>
        <p:spPr>
          <a:xfrm flipV="1">
            <a:off x="6221085" y="1861597"/>
            <a:ext cx="982272" cy="156740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B317112-226C-CBCF-F729-CCA95CEB9164}"/>
              </a:ext>
            </a:extLst>
          </p:cNvPr>
          <p:cNvCxnSpPr>
            <a:cxnSpLocks/>
          </p:cNvCxnSpPr>
          <p:nvPr/>
        </p:nvCxnSpPr>
        <p:spPr>
          <a:xfrm>
            <a:off x="9736339" y="3165610"/>
            <a:ext cx="0" cy="58218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1A772051-DCD9-4B73-A73E-F85FAD708588}"/>
              </a:ext>
            </a:extLst>
          </p:cNvPr>
          <p:cNvSpPr txBox="1"/>
          <p:nvPr/>
        </p:nvSpPr>
        <p:spPr>
          <a:xfrm>
            <a:off x="5262379" y="3429000"/>
            <a:ext cx="19174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      &lt;&lt; Inference&gt;&gt;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7B76C82-D64B-27B3-06D6-735DE0C485DE}"/>
              </a:ext>
            </a:extLst>
          </p:cNvPr>
          <p:cNvSpPr txBox="1"/>
          <p:nvPr/>
        </p:nvSpPr>
        <p:spPr>
          <a:xfrm>
            <a:off x="9809275" y="3305980"/>
            <a:ext cx="18822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nsights:  Fire impact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3E92F782-FBF5-7F76-E232-1D2E9243AEBF}"/>
              </a:ext>
            </a:extLst>
          </p:cNvPr>
          <p:cNvSpPr txBox="1">
            <a:spLocks/>
          </p:cNvSpPr>
          <p:nvPr/>
        </p:nvSpPr>
        <p:spPr>
          <a:xfrm>
            <a:off x="304889" y="6383868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685983" rtl="0" eaLnBrk="1" latinLnBrk="0" hangingPunct="1">
              <a:defRPr sz="625" kern="12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342991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83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974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966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957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949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940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932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charset="0"/>
              </a:rPr>
              <a:t>IBM Research / © 2023 IBM Corpor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5ED471-19A1-4C0C-5C31-F1D7D60F725E}"/>
              </a:ext>
            </a:extLst>
          </p:cNvPr>
          <p:cNvSpPr txBox="1"/>
          <p:nvPr/>
        </p:nvSpPr>
        <p:spPr>
          <a:xfrm>
            <a:off x="451556" y="4872739"/>
            <a:ext cx="48247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“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Promp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”: Image(s) (spatial + temporal domains)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E5279A4-F72E-C5F7-B391-BD2A2E381876}"/>
              </a:ext>
            </a:extLst>
          </p:cNvPr>
          <p:cNvCxnSpPr>
            <a:cxnSpLocks/>
          </p:cNvCxnSpPr>
          <p:nvPr/>
        </p:nvCxnSpPr>
        <p:spPr>
          <a:xfrm>
            <a:off x="5276334" y="3613757"/>
            <a:ext cx="31641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144EDBBB-6579-0381-4866-CCBB17FE950E}"/>
              </a:ext>
            </a:extLst>
          </p:cNvPr>
          <p:cNvSpPr txBox="1"/>
          <p:nvPr/>
        </p:nvSpPr>
        <p:spPr>
          <a:xfrm rot="18134156">
            <a:off x="5674924" y="2145050"/>
            <a:ext cx="16463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nsights: fire scar detection</a:t>
            </a:r>
          </a:p>
        </p:txBody>
      </p:sp>
      <p:pic>
        <p:nvPicPr>
          <p:cNvPr id="5" name="Picture 4" descr="A map of a city&#10;&#10;Description automatically generated with low confidence">
            <a:extLst>
              <a:ext uri="{FF2B5EF4-FFF2-40B4-BE49-F238E27FC236}">
                <a16:creationId xmlns:a16="http://schemas.microsoft.com/office/drawing/2014/main" id="{69BEC824-3400-08C3-DD0D-B4B28FDDFA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379" y="1842930"/>
            <a:ext cx="4680000" cy="2925000"/>
          </a:xfrm>
          <a:prstGeom prst="rect">
            <a:avLst/>
          </a:prstGeom>
        </p:spPr>
      </p:pic>
      <p:pic>
        <p:nvPicPr>
          <p:cNvPr id="10" name="Picture 9" descr="A map of a city&#10;&#10;Description automatically generated with low confidence">
            <a:extLst>
              <a:ext uri="{FF2B5EF4-FFF2-40B4-BE49-F238E27FC236}">
                <a16:creationId xmlns:a16="http://schemas.microsoft.com/office/drawing/2014/main" id="{93CB0225-54A7-8B08-5017-18E88DAE41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5230" y="115347"/>
            <a:ext cx="4680000" cy="2925000"/>
          </a:xfrm>
          <a:prstGeom prst="rect">
            <a:avLst/>
          </a:prstGeom>
        </p:spPr>
      </p:pic>
      <p:pic>
        <p:nvPicPr>
          <p:cNvPr id="11" name="Picture 10" descr="A map of a city&#10;&#10;Description automatically generated with low confidence">
            <a:extLst>
              <a:ext uri="{FF2B5EF4-FFF2-40B4-BE49-F238E27FC236}">
                <a16:creationId xmlns:a16="http://schemas.microsoft.com/office/drawing/2014/main" id="{9B019C5D-6F03-6399-5937-B4D0EE63F4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6339" y="3817653"/>
            <a:ext cx="4680000" cy="2925000"/>
          </a:xfrm>
          <a:prstGeom prst="rect">
            <a:avLst/>
          </a:prstGeom>
        </p:spPr>
      </p:pic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5BEFCEC9-E3C5-2D7D-4051-0F807243F7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25" y="5287192"/>
            <a:ext cx="7149332" cy="149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97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E65C7CA1-407C-92EB-3427-60757BD6F755}"/>
              </a:ext>
            </a:extLst>
          </p:cNvPr>
          <p:cNvSpPr txBox="1"/>
          <p:nvPr/>
        </p:nvSpPr>
        <p:spPr>
          <a:xfrm>
            <a:off x="911637" y="3980474"/>
            <a:ext cx="444705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Prithvi performance on burn scars with pretrained and random weigh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107874-8A6A-84B0-1A2C-BBCCDC3FD2A3}"/>
              </a:ext>
            </a:extLst>
          </p:cNvPr>
          <p:cNvSpPr txBox="1"/>
          <p:nvPr/>
        </p:nvSpPr>
        <p:spPr>
          <a:xfrm>
            <a:off x="6788708" y="3921109"/>
            <a:ext cx="454055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Data efficiency of the Prithvi in terms of reduction of required labeled images for fine-tuning in the burn scars tas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6B6C5E-9169-773C-988C-9501906F653B}"/>
              </a:ext>
            </a:extLst>
          </p:cNvPr>
          <p:cNvSpPr txBox="1"/>
          <p:nvPr/>
        </p:nvSpPr>
        <p:spPr>
          <a:xfrm>
            <a:off x="283336" y="265176"/>
            <a:ext cx="531876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Burn Scars: Detailed Experimen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D7D8CF4-558D-C897-3FEA-CA2D8BFDD6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128" y="1183717"/>
            <a:ext cx="4888566" cy="254878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019F31E-F0B4-5D65-B489-F8CECB7C8A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5048" y="1132741"/>
            <a:ext cx="4888566" cy="2650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2741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0C8523B-67C3-21B3-411F-BB1831B301A0}"/>
              </a:ext>
            </a:extLst>
          </p:cNvPr>
          <p:cNvSpPr txBox="1"/>
          <p:nvPr/>
        </p:nvSpPr>
        <p:spPr>
          <a:xfrm>
            <a:off x="283336" y="265176"/>
            <a:ext cx="322684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Prithvi Architectures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3F2398A0-3018-97EC-0319-57A96BC7A8DB}"/>
              </a:ext>
            </a:extLst>
          </p:cNvPr>
          <p:cNvSpPr txBox="1">
            <a:spLocks/>
          </p:cNvSpPr>
          <p:nvPr/>
        </p:nvSpPr>
        <p:spPr>
          <a:xfrm>
            <a:off x="283464" y="6400801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/>
                <a:sym typeface="Arial"/>
              </a:rPr>
              <a:t>© 2023 IBM Corpo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805EC0-B5D0-E50B-4463-85A6B766C7E1}"/>
              </a:ext>
            </a:extLst>
          </p:cNvPr>
          <p:cNvSpPr txBox="1"/>
          <p:nvPr/>
        </p:nvSpPr>
        <p:spPr>
          <a:xfrm>
            <a:off x="462181" y="1648843"/>
            <a:ext cx="381425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# bas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embed_di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768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depth 1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num_hea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embed_di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51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dept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8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num_hea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6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4CFC2D-AF79-8436-6915-B36898B5CCB8}"/>
              </a:ext>
            </a:extLst>
          </p:cNvPr>
          <p:cNvSpPr txBox="1"/>
          <p:nvPr/>
        </p:nvSpPr>
        <p:spPr>
          <a:xfrm>
            <a:off x="4346072" y="1648842"/>
            <a:ext cx="381425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# bas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embed_di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024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depth 24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num_hea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6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embed_di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51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dept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8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num_hea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F9FD95-F16D-A0ED-3E3B-3195B659CC8F}"/>
              </a:ext>
            </a:extLst>
          </p:cNvPr>
          <p:cNvSpPr txBox="1"/>
          <p:nvPr/>
        </p:nvSpPr>
        <p:spPr>
          <a:xfrm>
            <a:off x="8160327" y="1648842"/>
            <a:ext cx="381425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# bas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embed_di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280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depth 3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num_hea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6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embed_di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51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dept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8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-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ecoder_num_hea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1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0BF776-2BDC-1948-4EEA-DF15832013F7}"/>
              </a:ext>
            </a:extLst>
          </p:cNvPr>
          <p:cNvSpPr txBox="1"/>
          <p:nvPr/>
        </p:nvSpPr>
        <p:spPr>
          <a:xfrm>
            <a:off x="988290" y="4073236"/>
            <a:ext cx="1654620" cy="492443"/>
          </a:xfrm>
          <a:prstGeom prst="rect">
            <a:avLst/>
          </a:prstGeom>
          <a:noFill/>
        </p:spPr>
        <p:txBody>
          <a:bodyPr wrap="none" lIns="91440" tIns="91440" rIns="91440" bIns="9144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Prithvi 100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82216-2039-2392-3DBC-D19173A893F4}"/>
              </a:ext>
            </a:extLst>
          </p:cNvPr>
          <p:cNvSpPr txBox="1"/>
          <p:nvPr/>
        </p:nvSpPr>
        <p:spPr>
          <a:xfrm>
            <a:off x="4862945" y="4073236"/>
            <a:ext cx="1654620" cy="492443"/>
          </a:xfrm>
          <a:prstGeom prst="rect">
            <a:avLst/>
          </a:prstGeom>
          <a:noFill/>
        </p:spPr>
        <p:txBody>
          <a:bodyPr wrap="none" lIns="91440" tIns="91440" rIns="91440" bIns="9144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Prithvi 300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C68D33-8ABB-0062-6862-4F602274677E}"/>
              </a:ext>
            </a:extLst>
          </p:cNvPr>
          <p:cNvSpPr txBox="1"/>
          <p:nvPr/>
        </p:nvSpPr>
        <p:spPr>
          <a:xfrm>
            <a:off x="8737600" y="4073235"/>
            <a:ext cx="1654620" cy="492443"/>
          </a:xfrm>
          <a:prstGeom prst="rect">
            <a:avLst/>
          </a:prstGeom>
          <a:noFill/>
        </p:spPr>
        <p:txBody>
          <a:bodyPr wrap="none" lIns="91440" tIns="91440" rIns="91440" bIns="9144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alpha val="47000"/>
                  </a:srgbClr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Prithvi 600m</a:t>
            </a:r>
          </a:p>
        </p:txBody>
      </p:sp>
    </p:spTree>
    <p:extLst>
      <p:ext uri="{BB962C8B-B14F-4D97-AF65-F5344CB8AC3E}">
        <p14:creationId xmlns:p14="http://schemas.microsoft.com/office/powerpoint/2010/main" val="317280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82FF8A1-EFFB-53FC-979E-3B4369DBC118}"/>
              </a:ext>
            </a:extLst>
          </p:cNvPr>
          <p:cNvSpPr txBox="1"/>
          <p:nvPr/>
        </p:nvSpPr>
        <p:spPr>
          <a:xfrm>
            <a:off x="163881" y="268828"/>
            <a:ext cx="11864237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Prithvi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 is a suite of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eospatial foundation models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that accelerate the development of geospatial applications. Available in IBM's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watsonx.ai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, it includes pre-trained (slate.prithvi.100m.hls2, slate.prithvi.300m.hls2) and fine-tuned models for disaster mapping, environmental change monitoring, and data discovery tasks (such as flood, fire scars, and land use/change), thus enabling g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eospatial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 analytics at higher accuracy, lower cost, and faster speed.</a:t>
            </a:r>
          </a:p>
        </p:txBody>
      </p:sp>
      <p:pic>
        <p:nvPicPr>
          <p:cNvPr id="2" name="Imagem 6" descr="Mapa de jogo&#10;&#10;Descrição gerada automaticamente com confiança baixa">
            <a:extLst>
              <a:ext uri="{FF2B5EF4-FFF2-40B4-BE49-F238E27FC236}">
                <a16:creationId xmlns:a16="http://schemas.microsoft.com/office/drawing/2014/main" id="{A2FF07A7-C0DB-BCA2-0E9C-8E2D54FDE2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063" y="4008360"/>
            <a:ext cx="4755300" cy="274591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61FF3DD-2F3A-7D4C-0D16-B0EE2CC783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063" y="1504263"/>
            <a:ext cx="4426955" cy="2436211"/>
          </a:xfrm>
          <a:prstGeom prst="rect">
            <a:avLst/>
          </a:prstGeom>
        </p:spPr>
      </p:pic>
      <p:pic>
        <p:nvPicPr>
          <p:cNvPr id="4" name="Imagem 4" descr="Tela de jogo de vídeo game&#10;&#10;Descrição gerada automaticamente com confiança média">
            <a:extLst>
              <a:ext uri="{FF2B5EF4-FFF2-40B4-BE49-F238E27FC236}">
                <a16:creationId xmlns:a16="http://schemas.microsoft.com/office/drawing/2014/main" id="{185C90C5-7E8F-F1AE-CAAA-298DA2F592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0270" y="1420879"/>
            <a:ext cx="5920871" cy="274591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3F8F8EB-7D43-1470-DBAE-2A2178429C28}"/>
              </a:ext>
            </a:extLst>
          </p:cNvPr>
          <p:cNvSpPr txBox="1"/>
          <p:nvPr/>
        </p:nvSpPr>
        <p:spPr>
          <a:xfrm>
            <a:off x="5360932" y="4422705"/>
            <a:ext cx="6401005" cy="173124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Key differentiation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Outperforms </a:t>
            </a:r>
            <a:r>
              <a:rPr kumimoji="0" lang="en-US" sz="16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SoTA</a:t>
            </a: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 by upto </a:t>
            </a: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15%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Needs upto </a:t>
            </a: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50%</a:t>
            </a: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 less labeled data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eneralizes across </a:t>
            </a: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application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Pre-built workflows cut dev time from </a:t>
            </a: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months to days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31608AEB-F578-77FE-33AD-1D3C29A90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52228"/>
            <a:ext cx="6648755" cy="381725"/>
          </a:xfrm>
        </p:spPr>
        <p:txBody>
          <a:bodyPr anchor="t">
            <a:noAutofit/>
          </a:bodyPr>
          <a:lstStyle/>
          <a:p>
            <a:r>
              <a:rPr kumimoji="0" lang="en-US" sz="2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Executive Summary</a:t>
            </a:r>
            <a:endParaRPr lang="en-US" sz="2000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284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55C56-177F-9942-A33D-9E5CD26BA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ospatial Foundation Model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395103-7B5F-6B69-5318-4329FF5C99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roup Name / DOC ID / Month XX, 2023 / © 2023 IBM Corp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347DAA-B43D-B5A9-8061-D2AB277743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FFD86061-CD98-534E-E11A-F68C62F62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06" y="1985432"/>
            <a:ext cx="5743786" cy="3230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7AEC7366-6D67-3D9B-BBCB-AF5755AD2D66}"/>
              </a:ext>
            </a:extLst>
          </p:cNvPr>
          <p:cNvGrpSpPr/>
          <p:nvPr/>
        </p:nvGrpSpPr>
        <p:grpSpPr>
          <a:xfrm>
            <a:off x="5981314" y="1194095"/>
            <a:ext cx="6073875" cy="4469809"/>
            <a:chOff x="5129457" y="1271100"/>
            <a:chExt cx="5692854" cy="4282885"/>
          </a:xfrm>
        </p:grpSpPr>
        <p:sp>
          <p:nvSpPr>
            <p:cNvPr id="11" name="Arrow: Pentagon 15">
              <a:extLst>
                <a:ext uri="{FF2B5EF4-FFF2-40B4-BE49-F238E27FC236}">
                  <a16:creationId xmlns:a16="http://schemas.microsoft.com/office/drawing/2014/main" id="{19FAB3E9-8F1A-D2D2-9477-30442688E36F}"/>
                </a:ext>
              </a:extLst>
            </p:cNvPr>
            <p:cNvSpPr/>
            <p:nvPr/>
          </p:nvSpPr>
          <p:spPr>
            <a:xfrm>
              <a:off x="5224496" y="1777590"/>
              <a:ext cx="4138693" cy="881405"/>
            </a:xfrm>
            <a:prstGeom prst="homePlat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Arial"/>
                </a:rPr>
                <a:t>Pre-trained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Arial"/>
                </a:rPr>
                <a:t> on sufficient datasets in partnership with content-rich institutions (e.g. NASA)</a:t>
              </a:r>
            </a:p>
          </p:txBody>
        </p:sp>
        <p:sp>
          <p:nvSpPr>
            <p:cNvPr id="12" name="Arrow: Pentagon 18">
              <a:extLst>
                <a:ext uri="{FF2B5EF4-FFF2-40B4-BE49-F238E27FC236}">
                  <a16:creationId xmlns:a16="http://schemas.microsoft.com/office/drawing/2014/main" id="{4F69B306-36F6-BAF8-C2D5-B1411A25F596}"/>
                </a:ext>
              </a:extLst>
            </p:cNvPr>
            <p:cNvSpPr/>
            <p:nvPr/>
          </p:nvSpPr>
          <p:spPr>
            <a:xfrm>
              <a:off x="5224496" y="2887695"/>
              <a:ext cx="4971631" cy="881405"/>
            </a:xfrm>
            <a:prstGeom prst="homePlate">
              <a:avLst/>
            </a:prstGeom>
            <a:solidFill>
              <a:srgbClr val="1192E8"/>
            </a:solidFill>
            <a:ln w="952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+mn-cs"/>
                </a:rPr>
                <a:t>Leverage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+mn-cs"/>
                </a:rPr>
                <a:t>self-supervised learning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+mn-cs"/>
                </a:rPr>
                <a:t>(i.e., masking imagery or timeseries)</a:t>
              </a:r>
            </a:p>
          </p:txBody>
        </p:sp>
        <p:sp>
          <p:nvSpPr>
            <p:cNvPr id="13" name="Arrow: Pentagon 19">
              <a:extLst>
                <a:ext uri="{FF2B5EF4-FFF2-40B4-BE49-F238E27FC236}">
                  <a16:creationId xmlns:a16="http://schemas.microsoft.com/office/drawing/2014/main" id="{26545DEF-0924-5E12-A072-0AFCB14D5C8D}"/>
                </a:ext>
              </a:extLst>
            </p:cNvPr>
            <p:cNvSpPr/>
            <p:nvPr/>
          </p:nvSpPr>
          <p:spPr>
            <a:xfrm>
              <a:off x="5224496" y="3997799"/>
              <a:ext cx="5597815" cy="881405"/>
            </a:xfrm>
            <a:prstGeom prst="homePlate">
              <a:avLst/>
            </a:prstGeom>
            <a:solidFill>
              <a:srgbClr val="0043CE"/>
            </a:solidFill>
            <a:ln w="952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+mn-cs"/>
                </a:rPr>
                <a:t>Able to effectively complete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+mn-cs"/>
                </a:rPr>
                <a:t>multiple downstream task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+mn-cs"/>
                </a:rPr>
                <a:t> while meeting accuracy baselines (e.g., disaster response, agriculture, and climate change)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89EDD54-9461-694F-3897-7ECD2E3CA905}"/>
                </a:ext>
              </a:extLst>
            </p:cNvPr>
            <p:cNvSpPr txBox="1"/>
            <p:nvPr/>
          </p:nvSpPr>
          <p:spPr>
            <a:xfrm>
              <a:off x="5152562" y="1271100"/>
              <a:ext cx="2833987" cy="2797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F69"/>
                </a:buClr>
                <a:buSzTx/>
                <a:buFont typeface="Trebuchet MS" panose="020B0603020202020204" pitchFamily="34" charset="0"/>
                <a:buChar char="​"/>
                <a:tabLst/>
                <a:defRPr/>
              </a:pPr>
              <a:endPara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id="{5737D582-DABB-242F-2D64-E40056B1A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9457" y="1691764"/>
              <a:ext cx="209624" cy="209624"/>
            </a:xfrm>
            <a:prstGeom prst="ellipse">
              <a:avLst/>
            </a:prstGeom>
            <a:solidFill>
              <a:srgbClr val="003F69">
                <a:lumMod val="100000"/>
              </a:srgbClr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7F77B7F8-B285-E480-9E82-CF1F9D9BB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2480" y="1746020"/>
              <a:ext cx="103579" cy="9987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EA56A52-30D0-3513-48A4-3C3B2F3FC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9457" y="2808279"/>
              <a:ext cx="209624" cy="209624"/>
            </a:xfrm>
            <a:prstGeom prst="ellipse">
              <a:avLst/>
            </a:prstGeom>
            <a:solidFill>
              <a:srgbClr val="003F69">
                <a:lumMod val="100000"/>
              </a:srgbClr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B1E923DA-A246-81BF-4BF7-05217DFB8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2480" y="2862535"/>
              <a:ext cx="103579" cy="9987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endParaRPr>
            </a:p>
          </p:txBody>
        </p:sp>
        <p:sp>
          <p:nvSpPr>
            <p:cNvPr id="19" name="Oval 16">
              <a:extLst>
                <a:ext uri="{FF2B5EF4-FFF2-40B4-BE49-F238E27FC236}">
                  <a16:creationId xmlns:a16="http://schemas.microsoft.com/office/drawing/2014/main" id="{74FA34DB-35CD-164D-37F1-DCCA313705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9457" y="3920911"/>
              <a:ext cx="209624" cy="209624"/>
            </a:xfrm>
            <a:prstGeom prst="ellipse">
              <a:avLst/>
            </a:prstGeom>
            <a:solidFill>
              <a:srgbClr val="003F69">
                <a:lumMod val="100000"/>
              </a:srgbClr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3EA5E27A-D65D-C7F6-6503-7802004F6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2480" y="3975167"/>
              <a:ext cx="103579" cy="9987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57A8726-CEFE-220E-8C7E-B45560813D14}"/>
                </a:ext>
              </a:extLst>
            </p:cNvPr>
            <p:cNvSpPr txBox="1"/>
            <p:nvPr/>
          </p:nvSpPr>
          <p:spPr>
            <a:xfrm>
              <a:off x="5147000" y="5125110"/>
              <a:ext cx="5674414" cy="42887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Light"/>
                  <a:ea typeface="+mn-ea"/>
                  <a:cs typeface="+mn-cs"/>
                </a:rPr>
                <a:t>Note: while transformer architecture is most prevalent in foundation models, definition not restricted by model archite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29782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Landsat-8, Sentinel-2A and Sentinel-2B potential temporal revisits">
            <a:extLst>
              <a:ext uri="{FF2B5EF4-FFF2-40B4-BE49-F238E27FC236}">
                <a16:creationId xmlns:a16="http://schemas.microsoft.com/office/drawing/2014/main" id="{2B5EFF27-31C5-AA77-D271-DB513AE730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4580"/>
            <a:ext cx="12192000" cy="426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150C06C-D5C8-708D-B489-65D24563E88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0" y="4032624"/>
            <a:ext cx="3048000" cy="2825379"/>
          </a:xfrm>
        </p:spPr>
        <p:txBody>
          <a:bodyPr/>
          <a:lstStyle/>
          <a:p>
            <a:r>
              <a:rPr lang="en-US" sz="2400" dirty="0"/>
              <a:t>Corpus for building a GFM in </a:t>
            </a:r>
            <a:r>
              <a:rPr lang="en-US" sz="2400" b="1" dirty="0"/>
              <a:t>NASA-IBM cooperation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0D7CD3B-D15B-B62F-FD8F-9DCD4E5AA64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2" y="4032621"/>
            <a:ext cx="3047999" cy="2825383"/>
          </a:xfrm>
        </p:spPr>
        <p:txBody>
          <a:bodyPr/>
          <a:lstStyle/>
          <a:p>
            <a:r>
              <a:rPr lang="en-US" sz="2133" dirty="0"/>
              <a:t>Provide consistent global observations available every 2-3 days </a:t>
            </a:r>
          </a:p>
        </p:txBody>
      </p:sp>
      <p:sp>
        <p:nvSpPr>
          <p:cNvPr id="5" name="Espaço Reservado para Conteúdo 4">
            <a:extLst>
              <a:ext uri="{FF2B5EF4-FFF2-40B4-BE49-F238E27FC236}">
                <a16:creationId xmlns:a16="http://schemas.microsoft.com/office/drawing/2014/main" id="{D430A165-5B32-EBB1-ECC9-544F8BF13EF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1" y="4032618"/>
            <a:ext cx="3047999" cy="2825383"/>
          </a:xfrm>
        </p:spPr>
        <p:txBody>
          <a:bodyPr/>
          <a:lstStyle/>
          <a:p>
            <a:r>
              <a:rPr lang="en-US" sz="2133" dirty="0"/>
              <a:t>Aligned with the Military Grid Reference System (MGRS) – 110 x 110 km til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4F90C43-389F-F7AF-55E0-C8CC46506C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144000" y="4032618"/>
            <a:ext cx="3048000" cy="2825383"/>
          </a:xfrm>
        </p:spPr>
        <p:txBody>
          <a:bodyPr/>
          <a:lstStyle/>
          <a:p>
            <a:r>
              <a:rPr lang="en-US" sz="2133" dirty="0">
                <a:solidFill>
                  <a:schemeClr val="bg1"/>
                </a:solidFill>
              </a:rPr>
              <a:t>70-80% cloud covers in HLS2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1522A08B-29D8-5AA7-FBCA-EF3DF3B1B9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234584"/>
            <a:ext cx="11182865" cy="1335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788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150C06C-D5C8-708D-B489-65D24563E88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0" y="4032624"/>
            <a:ext cx="3048000" cy="2825379"/>
          </a:xfrm>
        </p:spPr>
        <p:txBody>
          <a:bodyPr/>
          <a:lstStyle/>
          <a:p>
            <a:r>
              <a:rPr lang="en-US" sz="2000" dirty="0"/>
              <a:t>Self-supervised encoder developed with a </a:t>
            </a:r>
            <a:r>
              <a:rPr lang="en-US" sz="2000" b="1" dirty="0" err="1"/>
              <a:t>ViT</a:t>
            </a:r>
            <a:r>
              <a:rPr lang="en-US" sz="2000" b="1" dirty="0"/>
              <a:t> </a:t>
            </a:r>
            <a:r>
              <a:rPr lang="en-US" sz="2000" dirty="0"/>
              <a:t>architecture and </a:t>
            </a:r>
            <a:r>
              <a:rPr lang="en-US" sz="2000" b="1" dirty="0"/>
              <a:t>Masked </a:t>
            </a:r>
            <a:r>
              <a:rPr lang="en-US" sz="2000" b="1" dirty="0" err="1"/>
              <a:t>AutoEncoder</a:t>
            </a:r>
            <a:r>
              <a:rPr lang="en-US" sz="2000" dirty="0"/>
              <a:t> learning strategy</a:t>
            </a:r>
          </a:p>
          <a:p>
            <a:endParaRPr lang="pt-BR" sz="2000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0D7CD3B-D15B-B62F-FD8F-9DCD4E5AA64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048002" y="4032624"/>
            <a:ext cx="3047999" cy="2825379"/>
          </a:xfrm>
        </p:spPr>
        <p:txBody>
          <a:bodyPr/>
          <a:lstStyle/>
          <a:p>
            <a:pPr>
              <a:spcAft>
                <a:spcPts val="0"/>
              </a:spcAft>
              <a:buClr>
                <a:schemeClr val="accent1"/>
              </a:buClr>
              <a:buSzPts val="1260"/>
            </a:pPr>
            <a:r>
              <a:rPr lang="en-US" sz="2000" dirty="0"/>
              <a:t>Each HLS-2 image of 224x224 pixels divided into 14x14 patches</a:t>
            </a:r>
          </a:p>
          <a:p>
            <a:endParaRPr lang="pt-BR" sz="2000" dirty="0"/>
          </a:p>
        </p:txBody>
      </p:sp>
      <p:sp>
        <p:nvSpPr>
          <p:cNvPr id="5" name="Espaço Reservado para Conteúdo 4">
            <a:extLst>
              <a:ext uri="{FF2B5EF4-FFF2-40B4-BE49-F238E27FC236}">
                <a16:creationId xmlns:a16="http://schemas.microsoft.com/office/drawing/2014/main" id="{D430A165-5B32-EBB1-ECC9-544F8BF13EF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1" y="4032621"/>
            <a:ext cx="3047999" cy="2825379"/>
          </a:xfrm>
        </p:spPr>
        <p:txBody>
          <a:bodyPr/>
          <a:lstStyle/>
          <a:p>
            <a:pPr defTabSz="1219170">
              <a:spcAft>
                <a:spcPts val="0"/>
              </a:spcAft>
              <a:buClr>
                <a:schemeClr val="accent1"/>
              </a:buClr>
              <a:buSzPts val="1260"/>
            </a:pPr>
            <a:r>
              <a:rPr lang="en-US" sz="2000" b="1" dirty="0"/>
              <a:t>Spatial attention </a:t>
            </a:r>
            <a:r>
              <a:rPr lang="en-US" sz="2000" dirty="0"/>
              <a:t>across multiple patches and </a:t>
            </a:r>
            <a:r>
              <a:rPr lang="en-US" sz="2000" b="1" dirty="0"/>
              <a:t>temporal attention</a:t>
            </a:r>
            <a:r>
              <a:rPr lang="en-US" sz="2000" dirty="0"/>
              <a:t> for each patch</a:t>
            </a:r>
          </a:p>
          <a:p>
            <a:endParaRPr lang="pt-BR" sz="2000" dirty="0"/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4F90C43-389F-F7AF-55E0-C8CC46506C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144000" y="4032621"/>
            <a:ext cx="3048000" cy="2825379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</a:rPr>
              <a:t>Pixel-level MSE used as the loss function</a:t>
            </a:r>
            <a:endParaRPr lang="pt-BR" sz="2000" dirty="0"/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B6FF63C2-4833-64D7-0592-F5D8910013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0"/>
            <a:ext cx="11456088" cy="1072896"/>
          </a:xfrm>
        </p:spPr>
        <p:txBody>
          <a:bodyPr/>
          <a:lstStyle/>
          <a:p>
            <a:r>
              <a:rPr lang="en-US" sz="3200" dirty="0"/>
              <a:t>Initial approach to Training Models: Remote Sensing Dat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2D2BE2D-4348-B621-C1DD-D5CC62C7AD7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23658"/>
            <a:ext cx="6080760" cy="310896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12B345E-226B-BA46-C599-CDB8D6FFA34C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6118579" y="923658"/>
            <a:ext cx="6080760" cy="3108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7222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84FA6-65BD-3B81-F347-03AE72F1F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5" y="268224"/>
            <a:ext cx="8283721" cy="1072896"/>
          </a:xfrm>
        </p:spPr>
        <p:txBody>
          <a:bodyPr/>
          <a:lstStyle/>
          <a:p>
            <a:r>
              <a:rPr lang="en-US" dirty="0"/>
              <a:t>Pre-training a HLS2 Foundation Mod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4E86D3-219E-20D6-3458-14819F4FA7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89" y="1598903"/>
            <a:ext cx="4807430" cy="454411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re-trained using a masking approach on 1 year of data sampled across all of United States (CONU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ampling based on weather characteristi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HLS2 L30 product – 30m granularity, RGB, NIR-Narrow, and SWIR-1,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Total data volume: 1T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Model sizes: 100M, 300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GPU hours: 10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E78CD5-10D1-70C8-3718-8B888DA018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roup Name / DOC ID / Month XX, 2022 / © 2022 IBM Corporation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0BC03-D6F4-C837-8C27-C8A68F659B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pic>
        <p:nvPicPr>
          <p:cNvPr id="6" name="Picture 5" descr="A map of the united states&#10;&#10;Description automatically generated">
            <a:extLst>
              <a:ext uri="{FF2B5EF4-FFF2-40B4-BE49-F238E27FC236}">
                <a16:creationId xmlns:a16="http://schemas.microsoft.com/office/drawing/2014/main" id="{C6806A74-F753-5FC8-9653-6773C6C64E4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804" y="765393"/>
            <a:ext cx="4492151" cy="2855512"/>
          </a:xfrm>
          <a:prstGeom prst="rect">
            <a:avLst/>
          </a:prstGeom>
        </p:spPr>
      </p:pic>
      <p:pic>
        <p:nvPicPr>
          <p:cNvPr id="10" name="Picture 9" descr="A map of the united states&#10;&#10;Description automatically generated">
            <a:extLst>
              <a:ext uri="{FF2B5EF4-FFF2-40B4-BE49-F238E27FC236}">
                <a16:creationId xmlns:a16="http://schemas.microsoft.com/office/drawing/2014/main" id="{C604E5E9-7D0B-167B-CB79-A146E069B9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5805" y="3638353"/>
            <a:ext cx="4492151" cy="327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475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20609C-56D0-A0F2-A2FF-3442FE601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mily of model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296E91-0668-E16E-52AC-CDA5D3B28A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33E068-CAB7-0A2A-63FA-D86E50F4F1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BDE224DE-2931-248D-CB3F-9A9A1C8264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5288" y="1073025"/>
            <a:ext cx="5766296" cy="4611756"/>
          </a:xfrm>
          <a:prstGeom prst="rect">
            <a:avLst/>
          </a:prstGeom>
        </p:spPr>
      </p:pic>
      <p:pic>
        <p:nvPicPr>
          <p:cNvPr id="7" name="Picture 6" descr="Chart, line chart&#10;&#10;Description automatically generated">
            <a:extLst>
              <a:ext uri="{FF2B5EF4-FFF2-40B4-BE49-F238E27FC236}">
                <a16:creationId xmlns:a16="http://schemas.microsoft.com/office/drawing/2014/main" id="{42464D36-D40C-B6E7-9A21-FCC295A0C7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415" y="1092904"/>
            <a:ext cx="5766295" cy="461175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91E7C5D-56FC-0021-4A34-AD0D32537177}"/>
              </a:ext>
            </a:extLst>
          </p:cNvPr>
          <p:cNvSpPr txBox="1"/>
          <p:nvPr/>
        </p:nvSpPr>
        <p:spPr>
          <a:xfrm>
            <a:off x="2673626" y="5684781"/>
            <a:ext cx="1197764" cy="400110"/>
          </a:xfrm>
          <a:prstGeom prst="rect">
            <a:avLst/>
          </a:prstGeom>
          <a:noFill/>
        </p:spPr>
        <p:txBody>
          <a:bodyPr wrap="none" lIns="91440" tIns="91440" rIns="91440" bIns="91440" rtlCol="0">
            <a:spAutoFit/>
          </a:bodyPr>
          <a:lstStyle/>
          <a:p>
            <a:pPr algn="l">
              <a:spcBef>
                <a:spcPts val="1100"/>
              </a:spcBef>
            </a:pPr>
            <a:r>
              <a:rPr lang="en-US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100M mod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57B9C1-F6CD-EAEE-0BA3-D5E4BA01EB9F}"/>
              </a:ext>
            </a:extLst>
          </p:cNvPr>
          <p:cNvSpPr txBox="1"/>
          <p:nvPr/>
        </p:nvSpPr>
        <p:spPr>
          <a:xfrm>
            <a:off x="8550966" y="5642681"/>
            <a:ext cx="1197764" cy="400110"/>
          </a:xfrm>
          <a:prstGeom prst="rect">
            <a:avLst/>
          </a:prstGeom>
          <a:noFill/>
        </p:spPr>
        <p:txBody>
          <a:bodyPr wrap="none" lIns="91440" tIns="91440" rIns="91440" bIns="91440" rtlCol="0">
            <a:spAutoFit/>
          </a:bodyPr>
          <a:lstStyle/>
          <a:p>
            <a:pPr algn="l">
              <a:spcBef>
                <a:spcPts val="1100"/>
              </a:spcBef>
            </a:pPr>
            <a:r>
              <a:rPr lang="en-US" sz="1400" dirty="0">
                <a:ea typeface="IBM Plex Sans" charset="0"/>
                <a:cs typeface="IBM Plex Sans" charset="0"/>
              </a:rPr>
              <a:t>3</a:t>
            </a:r>
            <a:r>
              <a:rPr lang="en-US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00M model</a:t>
            </a:r>
          </a:p>
        </p:txBody>
      </p:sp>
    </p:spTree>
    <p:extLst>
      <p:ext uri="{BB962C8B-B14F-4D97-AF65-F5344CB8AC3E}">
        <p14:creationId xmlns:p14="http://schemas.microsoft.com/office/powerpoint/2010/main" val="24499554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8B438-0F16-3E17-C43E-455C689766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557" y="165398"/>
            <a:ext cx="5522976" cy="1072896"/>
          </a:xfrm>
        </p:spPr>
        <p:txBody>
          <a:bodyPr/>
          <a:lstStyle/>
          <a:p>
            <a:r>
              <a:rPr lang="en-US" dirty="0"/>
              <a:t>Example downstream Task: Flood Mapp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A6A314-35A5-397C-91EF-620B9450A0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4846" y="4538838"/>
            <a:ext cx="2778380" cy="1542837"/>
          </a:xfrm>
        </p:spPr>
        <p:txBody>
          <a:bodyPr anchor="b"/>
          <a:lstStyle/>
          <a:p>
            <a:r>
              <a:rPr lang="en-US" sz="1600" dirty="0"/>
              <a:t>Other downstream tasks follow similar workflow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D50FD2-8000-BF8E-9FCF-0CF56BACA2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Group Name / DOC ID / Month XX, 2023 / © 2023 IBM Corpo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47D81C-B3B2-CBF4-8D1D-C60FD08724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F2F7A794-3432-0F79-C0DB-85FA4B99FA3C}"/>
              </a:ext>
            </a:extLst>
          </p:cNvPr>
          <p:cNvSpPr/>
          <p:nvPr/>
        </p:nvSpPr>
        <p:spPr bwMode="auto">
          <a:xfrm>
            <a:off x="5955116" y="1336290"/>
            <a:ext cx="5750097" cy="2501186"/>
          </a:xfrm>
          <a:prstGeom prst="roundRect">
            <a:avLst>
              <a:gd name="adj" fmla="val 4692"/>
            </a:avLst>
          </a:prstGeom>
          <a:solidFill>
            <a:srgbClr val="C6C6C6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charset="0"/>
              </a:rPr>
              <a:t>Geospatial + temporal MAE pretrain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0EC38C4-899F-BA8E-DE81-0D518C25CC17}"/>
              </a:ext>
            </a:extLst>
          </p:cNvPr>
          <p:cNvSpPr txBox="1"/>
          <p:nvPr/>
        </p:nvSpPr>
        <p:spPr>
          <a:xfrm>
            <a:off x="8946470" y="2325273"/>
            <a:ext cx="262350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charset="0"/>
              </a:rPr>
              <a:t>Use segmentation heads to finetune and evaluate the Foundation Model</a:t>
            </a:r>
            <a:endParaRPr kumimoji="0" lang="en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Arial" charset="0"/>
            </a:endParaRPr>
          </a:p>
        </p:txBody>
      </p:sp>
      <p:sp>
        <p:nvSpPr>
          <p:cNvPr id="61" name="Trapezoid 60">
            <a:extLst>
              <a:ext uri="{FF2B5EF4-FFF2-40B4-BE49-F238E27FC236}">
                <a16:creationId xmlns:a16="http://schemas.microsoft.com/office/drawing/2014/main" id="{FB9E0075-BDDC-F258-8511-0E587B727030}"/>
              </a:ext>
            </a:extLst>
          </p:cNvPr>
          <p:cNvSpPr/>
          <p:nvPr/>
        </p:nvSpPr>
        <p:spPr bwMode="auto">
          <a:xfrm rot="5400000">
            <a:off x="3746615" y="2339551"/>
            <a:ext cx="2279105" cy="763345"/>
          </a:xfrm>
          <a:prstGeom prst="trapezoid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400" b="0" i="0" u="none" strike="noStrike" kern="1200" cap="none" spc="0" normalizeH="0" baseline="0" noProof="0" dirty="0">
                <a:ln>
                  <a:noFill/>
                </a:ln>
                <a:solidFill>
                  <a:srgbClr val="F4F4F4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Encoder</a:t>
            </a:r>
          </a:p>
        </p:txBody>
      </p:sp>
      <p:sp>
        <p:nvSpPr>
          <p:cNvPr id="62" name="Trapezoid 61">
            <a:extLst>
              <a:ext uri="{FF2B5EF4-FFF2-40B4-BE49-F238E27FC236}">
                <a16:creationId xmlns:a16="http://schemas.microsoft.com/office/drawing/2014/main" id="{0387508C-15E7-A2E5-3D79-A946DC469D19}"/>
              </a:ext>
            </a:extLst>
          </p:cNvPr>
          <p:cNvSpPr/>
          <p:nvPr/>
        </p:nvSpPr>
        <p:spPr bwMode="auto">
          <a:xfrm rot="16200000">
            <a:off x="5957962" y="2358373"/>
            <a:ext cx="1414169" cy="701322"/>
          </a:xfrm>
          <a:prstGeom prst="trapezoid">
            <a:avLst/>
          </a:prstGeom>
          <a:solidFill>
            <a:srgbClr val="007D79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400" b="0" i="0" u="none" strike="noStrike" kern="1200" cap="none" spc="0" normalizeH="0" baseline="0" noProof="0" dirty="0">
                <a:ln>
                  <a:noFill/>
                </a:ln>
                <a:solidFill>
                  <a:srgbClr val="F4F4F4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Decoder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BEA19B8E-6F52-8731-DA6D-24802578768B}"/>
              </a:ext>
            </a:extLst>
          </p:cNvPr>
          <p:cNvCxnSpPr>
            <a:cxnSpLocks/>
            <a:stCxn id="68" idx="3"/>
            <a:endCxn id="61" idx="2"/>
          </p:cNvCxnSpPr>
          <p:nvPr/>
        </p:nvCxnSpPr>
        <p:spPr bwMode="auto">
          <a:xfrm flipV="1">
            <a:off x="3998467" y="2721224"/>
            <a:ext cx="506028" cy="16822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3EBC4511-E883-E5FF-759F-E2D5F169304E}"/>
              </a:ext>
            </a:extLst>
          </p:cNvPr>
          <p:cNvCxnSpPr>
            <a:cxnSpLocks/>
            <a:stCxn id="61" idx="0"/>
            <a:endCxn id="62" idx="0"/>
          </p:cNvCxnSpPr>
          <p:nvPr/>
        </p:nvCxnSpPr>
        <p:spPr bwMode="auto">
          <a:xfrm flipV="1">
            <a:off x="5267840" y="2709034"/>
            <a:ext cx="1046546" cy="1219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5" name="Picture 64">
            <a:extLst>
              <a:ext uri="{FF2B5EF4-FFF2-40B4-BE49-F238E27FC236}">
                <a16:creationId xmlns:a16="http://schemas.microsoft.com/office/drawing/2014/main" id="{E5E62751-2AE7-983A-DC2A-6FBEBC057D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8191" y="1730520"/>
            <a:ext cx="1269373" cy="1957021"/>
          </a:xfrm>
          <a:prstGeom prst="rect">
            <a:avLst/>
          </a:prstGeom>
        </p:spPr>
      </p:pic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6D674AFA-CB4E-7143-6E02-606AFB6A85E6}"/>
              </a:ext>
            </a:extLst>
          </p:cNvPr>
          <p:cNvCxnSpPr>
            <a:cxnSpLocks/>
            <a:stCxn id="62" idx="2"/>
            <a:endCxn id="65" idx="1"/>
          </p:cNvCxnSpPr>
          <p:nvPr/>
        </p:nvCxnSpPr>
        <p:spPr bwMode="auto">
          <a:xfrm flipV="1">
            <a:off x="7015708" y="2709031"/>
            <a:ext cx="642483" cy="3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67" name="Agrupar 19">
            <a:extLst>
              <a:ext uri="{FF2B5EF4-FFF2-40B4-BE49-F238E27FC236}">
                <a16:creationId xmlns:a16="http://schemas.microsoft.com/office/drawing/2014/main" id="{361F56FE-73C0-4C44-7838-D6C56AF8F547}"/>
              </a:ext>
            </a:extLst>
          </p:cNvPr>
          <p:cNvGrpSpPr/>
          <p:nvPr/>
        </p:nvGrpSpPr>
        <p:grpSpPr>
          <a:xfrm>
            <a:off x="286471" y="1607701"/>
            <a:ext cx="3711996" cy="2260689"/>
            <a:chOff x="678106" y="1611247"/>
            <a:chExt cx="2128295" cy="1079500"/>
          </a:xfrm>
        </p:grpSpPr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2458372A-F887-10B7-BB6A-518FB69FB6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285"/>
            <a:stretch/>
          </p:blipFill>
          <p:spPr>
            <a:xfrm>
              <a:off x="678106" y="1611247"/>
              <a:ext cx="2128295" cy="1079500"/>
            </a:xfrm>
            <a:prstGeom prst="rect">
              <a:avLst/>
            </a:prstGeom>
          </p:spPr>
        </p:pic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6C221EAC-C18F-EFB4-6446-C0EC16EAD63E}"/>
                </a:ext>
              </a:extLst>
            </p:cNvPr>
            <p:cNvSpPr/>
            <p:nvPr/>
          </p:nvSpPr>
          <p:spPr bwMode="auto">
            <a:xfrm>
              <a:off x="720763" y="2496437"/>
              <a:ext cx="823821" cy="12909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DE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HLS data</a:t>
              </a:r>
            </a:p>
          </p:txBody>
        </p:sp>
      </p:grpSp>
      <p:pic>
        <p:nvPicPr>
          <p:cNvPr id="70" name="Picture 69">
            <a:extLst>
              <a:ext uri="{FF2B5EF4-FFF2-40B4-BE49-F238E27FC236}">
                <a16:creationId xmlns:a16="http://schemas.microsoft.com/office/drawing/2014/main" id="{AECA6FFA-56BC-4FFF-7533-41390B40AA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8572" y="4188848"/>
            <a:ext cx="829260" cy="2202674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5A49EBBE-44C9-85B7-30BC-3CE8EEFC0F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3262" y="4258697"/>
            <a:ext cx="829260" cy="2202674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3E4CCA1D-F910-FCFA-AD46-D7A7AAFC63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5662" y="4411097"/>
            <a:ext cx="829260" cy="2202674"/>
          </a:xfrm>
          <a:prstGeom prst="rect">
            <a:avLst/>
          </a:prstGeom>
        </p:spPr>
      </p:pic>
      <p:sp>
        <p:nvSpPr>
          <p:cNvPr id="73" name="Right Brace 72">
            <a:extLst>
              <a:ext uri="{FF2B5EF4-FFF2-40B4-BE49-F238E27FC236}">
                <a16:creationId xmlns:a16="http://schemas.microsoft.com/office/drawing/2014/main" id="{1D1C5018-CB26-12CA-1D67-4FE3AB84E4A4}"/>
              </a:ext>
            </a:extLst>
          </p:cNvPr>
          <p:cNvSpPr/>
          <p:nvPr/>
        </p:nvSpPr>
        <p:spPr bwMode="auto">
          <a:xfrm rot="5400000">
            <a:off x="4591971" y="3739279"/>
            <a:ext cx="372638" cy="684754"/>
          </a:xfrm>
          <a:prstGeom prst="rightBrac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74" name="Rounded Rectangle 73">
            <a:extLst>
              <a:ext uri="{FF2B5EF4-FFF2-40B4-BE49-F238E27FC236}">
                <a16:creationId xmlns:a16="http://schemas.microsoft.com/office/drawing/2014/main" id="{E1576F3C-07E2-C8FA-38D5-9F291BA17F42}"/>
              </a:ext>
            </a:extLst>
          </p:cNvPr>
          <p:cNvSpPr/>
          <p:nvPr/>
        </p:nvSpPr>
        <p:spPr bwMode="auto">
          <a:xfrm>
            <a:off x="5981271" y="4320377"/>
            <a:ext cx="5750097" cy="2437036"/>
          </a:xfrm>
          <a:prstGeom prst="roundRect">
            <a:avLst>
              <a:gd name="adj" fmla="val 4692"/>
            </a:avLst>
          </a:prstGeom>
          <a:solidFill>
            <a:srgbClr val="C6C6C6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Downstream </a:t>
            </a:r>
            <a:r>
              <a:rPr kumimoji="0" lang="en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ask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</a:t>
            </a:r>
            <a:r>
              <a:rPr kumimoji="0" lang="en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pplication</a:t>
            </a:r>
            <a:endParaRPr kumimoji="0" lang="en-D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5" name="Trapezoid 74">
            <a:extLst>
              <a:ext uri="{FF2B5EF4-FFF2-40B4-BE49-F238E27FC236}">
                <a16:creationId xmlns:a16="http://schemas.microsoft.com/office/drawing/2014/main" id="{6E297F8A-2D22-9F23-6798-7F5FD8CECCE4}"/>
              </a:ext>
            </a:extLst>
          </p:cNvPr>
          <p:cNvSpPr/>
          <p:nvPr/>
        </p:nvSpPr>
        <p:spPr bwMode="auto">
          <a:xfrm rot="16200000">
            <a:off x="5687232" y="5102946"/>
            <a:ext cx="1567232" cy="752341"/>
          </a:xfrm>
          <a:prstGeom prst="trapezoid">
            <a:avLst/>
          </a:prstGeom>
          <a:solidFill>
            <a:srgbClr val="007D79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00" b="0" i="0" u="none" strike="noStrike" kern="1200" cap="none" spc="0" normalizeH="0" baseline="0" noProof="0" dirty="0">
                <a:ln>
                  <a:noFill/>
                </a:ln>
                <a:solidFill>
                  <a:srgbClr val="F4F4F4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Segmentation head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20DCAA19-9791-15F4-DD9B-0FBF37B0C15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089637" y="4954040"/>
            <a:ext cx="1067192" cy="1067192"/>
          </a:xfrm>
          <a:prstGeom prst="rect">
            <a:avLst/>
          </a:prstGeom>
          <a:ln>
            <a:noFill/>
          </a:ln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1BE50DEA-5776-4251-4172-85069D8791C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8621961" y="4954040"/>
            <a:ext cx="1067194" cy="1067194"/>
          </a:xfrm>
          <a:prstGeom prst="rect">
            <a:avLst/>
          </a:prstGeom>
          <a:ln>
            <a:noFill/>
          </a:ln>
        </p:spPr>
      </p:pic>
      <p:cxnSp>
        <p:nvCxnSpPr>
          <p:cNvPr id="78" name="Elbow Connector 77">
            <a:extLst>
              <a:ext uri="{FF2B5EF4-FFF2-40B4-BE49-F238E27FC236}">
                <a16:creationId xmlns:a16="http://schemas.microsoft.com/office/drawing/2014/main" id="{0E98A27D-B90A-3284-3508-89A052BAB3E3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4495581" y="3867141"/>
            <a:ext cx="2741072" cy="457122"/>
          </a:xfrm>
          <a:prstGeom prst="bentConnector2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9" name="Picture 78">
            <a:extLst>
              <a:ext uri="{FF2B5EF4-FFF2-40B4-BE49-F238E27FC236}">
                <a16:creationId xmlns:a16="http://schemas.microsoft.com/office/drawing/2014/main" id="{2CFA1357-C219-54B2-20B7-73D465DD01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71668" y="5025457"/>
            <a:ext cx="1362089" cy="907318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8D5E4793-AA00-BA02-D1F7-76A9BF026533}"/>
              </a:ext>
            </a:extLst>
          </p:cNvPr>
          <p:cNvSpPr txBox="1"/>
          <p:nvPr/>
        </p:nvSpPr>
        <p:spPr>
          <a:xfrm>
            <a:off x="6885795" y="6021232"/>
            <a:ext cx="153934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ixel-wise classification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864E422-DB74-D077-E549-934B778D6B5E}"/>
              </a:ext>
            </a:extLst>
          </p:cNvPr>
          <p:cNvSpPr txBox="1"/>
          <p:nvPr/>
        </p:nvSpPr>
        <p:spPr>
          <a:xfrm>
            <a:off x="8247547" y="6031491"/>
            <a:ext cx="1695519" cy="256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7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riginal image</a:t>
            </a:r>
            <a:endParaRPr kumimoji="0" lang="en-DE" sz="107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AE70BA37-5E03-5991-A565-D068E4DFC3F7}"/>
              </a:ext>
            </a:extLst>
          </p:cNvPr>
          <p:cNvCxnSpPr>
            <a:cxnSpLocks/>
            <a:stCxn id="75" idx="2"/>
            <a:endCxn id="76" idx="1"/>
          </p:cNvCxnSpPr>
          <p:nvPr/>
        </p:nvCxnSpPr>
        <p:spPr bwMode="auto">
          <a:xfrm>
            <a:off x="6847019" y="5479117"/>
            <a:ext cx="242618" cy="8519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DC213A3F-C22D-2D77-104F-FE4A6C1E6F06}"/>
              </a:ext>
            </a:extLst>
          </p:cNvPr>
          <p:cNvCxnSpPr>
            <a:cxnSpLocks/>
            <a:stCxn id="76" idx="3"/>
            <a:endCxn id="77" idx="1"/>
          </p:cNvCxnSpPr>
          <p:nvPr/>
        </p:nvCxnSpPr>
        <p:spPr bwMode="auto">
          <a:xfrm>
            <a:off x="8156829" y="5487636"/>
            <a:ext cx="465132" cy="1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4" name="Right Brace 83">
            <a:extLst>
              <a:ext uri="{FF2B5EF4-FFF2-40B4-BE49-F238E27FC236}">
                <a16:creationId xmlns:a16="http://schemas.microsoft.com/office/drawing/2014/main" id="{8986E5A3-7642-7C6A-4A89-0CD3B0FFA9AA}"/>
              </a:ext>
            </a:extLst>
          </p:cNvPr>
          <p:cNvSpPr/>
          <p:nvPr/>
        </p:nvSpPr>
        <p:spPr bwMode="auto">
          <a:xfrm>
            <a:off x="9755261" y="5147235"/>
            <a:ext cx="165398" cy="684754"/>
          </a:xfrm>
          <a:prstGeom prst="rightBrac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D10FA9C1-0C64-2C27-D64E-DAC7B8A4914B}"/>
              </a:ext>
            </a:extLst>
          </p:cNvPr>
          <p:cNvSpPr txBox="1"/>
          <p:nvPr/>
        </p:nvSpPr>
        <p:spPr>
          <a:xfrm>
            <a:off x="9765472" y="5929193"/>
            <a:ext cx="1889579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Arial" charset="0"/>
                <a:cs typeface="Arial" charset="0"/>
              </a:rPr>
              <a:t>Comparison to SOTA</a:t>
            </a:r>
          </a:p>
        </p:txBody>
      </p:sp>
    </p:spTree>
    <p:extLst>
      <p:ext uri="{BB962C8B-B14F-4D97-AF65-F5344CB8AC3E}">
        <p14:creationId xmlns:p14="http://schemas.microsoft.com/office/powerpoint/2010/main" val="11738625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EE504E-48E4-0BC9-D29D-6C8F02BF7F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52228"/>
            <a:ext cx="6648755" cy="1481070"/>
          </a:xfrm>
        </p:spPr>
        <p:txBody>
          <a:bodyPr anchor="t">
            <a:noAutofit/>
          </a:bodyPr>
          <a:lstStyle/>
          <a:p>
            <a:r>
              <a:rPr kumimoji="0" lang="en-US" sz="4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nference insights by Prithvi – Flood Mapping</a:t>
            </a:r>
            <a:endParaRPr lang="en-US" sz="4000" dirty="0">
              <a:latin typeface="IBM Plex Sans" panose="020B0503050203000203" pitchFamily="34" charset="0"/>
            </a:endParaRPr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F2D6CCBA-52C0-8131-BA5B-136BFFEA7631}"/>
              </a:ext>
            </a:extLst>
          </p:cNvPr>
          <p:cNvSpPr txBox="1">
            <a:spLocks/>
          </p:cNvSpPr>
          <p:nvPr/>
        </p:nvSpPr>
        <p:spPr>
          <a:xfrm>
            <a:off x="9143911" y="6383868"/>
            <a:ext cx="2743200" cy="24996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charset="0"/>
              </a:rPr>
              <a:pPr marL="0" marR="0" lvl="0" indent="0" algn="r" defTabSz="9146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Arial" charset="0"/>
            </a:endParaRPr>
          </a:p>
        </p:txBody>
      </p:sp>
      <p:pic>
        <p:nvPicPr>
          <p:cNvPr id="4" name="Picture 3" descr="A picture containing text, plant&#10;&#10;Description automatically generated">
            <a:extLst>
              <a:ext uri="{FF2B5EF4-FFF2-40B4-BE49-F238E27FC236}">
                <a16:creationId xmlns:a16="http://schemas.microsoft.com/office/drawing/2014/main" id="{718DED75-D525-8FDB-D3D1-D2BBFC60AE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467" y="1842930"/>
            <a:ext cx="4680000" cy="2925000"/>
          </a:xfrm>
          <a:prstGeom prst="rect">
            <a:avLst/>
          </a:prstGeom>
        </p:spPr>
      </p:pic>
      <p:pic>
        <p:nvPicPr>
          <p:cNvPr id="6" name="Picture 5" descr="A map of a city&#10;&#10;Description automatically generated with medium confidence">
            <a:extLst>
              <a:ext uri="{FF2B5EF4-FFF2-40B4-BE49-F238E27FC236}">
                <a16:creationId xmlns:a16="http://schemas.microsoft.com/office/drawing/2014/main" id="{77412700-BA74-FFC1-95E4-7D54F457E5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6339" y="117476"/>
            <a:ext cx="4680000" cy="2925000"/>
          </a:xfrm>
          <a:prstGeom prst="rect">
            <a:avLst/>
          </a:prstGeom>
        </p:spPr>
      </p:pic>
      <p:pic>
        <p:nvPicPr>
          <p:cNvPr id="8" name="Picture 7" descr="A map of a country&#10;&#10;Description automatically generated with low confidence">
            <a:extLst>
              <a:ext uri="{FF2B5EF4-FFF2-40B4-BE49-F238E27FC236}">
                <a16:creationId xmlns:a16="http://schemas.microsoft.com/office/drawing/2014/main" id="{BC3971ED-4B38-BCA6-5FD4-0F26A3F7B1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6339" y="3708836"/>
            <a:ext cx="4680000" cy="2925000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81A609E-C504-0FDE-46D0-6E233EA4F163}"/>
              </a:ext>
            </a:extLst>
          </p:cNvPr>
          <p:cNvCxnSpPr>
            <a:cxnSpLocks/>
            <a:stCxn id="16" idx="0"/>
          </p:cNvCxnSpPr>
          <p:nvPr/>
        </p:nvCxnSpPr>
        <p:spPr>
          <a:xfrm flipV="1">
            <a:off x="6221085" y="1861597"/>
            <a:ext cx="982272" cy="156740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B317112-226C-CBCF-F729-CCA95CEB9164}"/>
              </a:ext>
            </a:extLst>
          </p:cNvPr>
          <p:cNvCxnSpPr>
            <a:cxnSpLocks/>
          </p:cNvCxnSpPr>
          <p:nvPr/>
        </p:nvCxnSpPr>
        <p:spPr>
          <a:xfrm>
            <a:off x="9736339" y="3086587"/>
            <a:ext cx="0" cy="58218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1A772051-DCD9-4B73-A73E-F85FAD708588}"/>
              </a:ext>
            </a:extLst>
          </p:cNvPr>
          <p:cNvSpPr txBox="1"/>
          <p:nvPr/>
        </p:nvSpPr>
        <p:spPr>
          <a:xfrm>
            <a:off x="5262379" y="3429000"/>
            <a:ext cx="191741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      &lt;&lt; Inference&gt;&gt;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(e.g., flood task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7B76C82-D64B-27B3-06D6-735DE0C485DE}"/>
              </a:ext>
            </a:extLst>
          </p:cNvPr>
          <p:cNvSpPr txBox="1"/>
          <p:nvPr/>
        </p:nvSpPr>
        <p:spPr>
          <a:xfrm>
            <a:off x="9736339" y="3305980"/>
            <a:ext cx="20281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nsights:  Flood impact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3E92F782-FBF5-7F76-E232-1D2E9243AEBF}"/>
              </a:ext>
            </a:extLst>
          </p:cNvPr>
          <p:cNvSpPr txBox="1">
            <a:spLocks/>
          </p:cNvSpPr>
          <p:nvPr/>
        </p:nvSpPr>
        <p:spPr>
          <a:xfrm>
            <a:off x="304889" y="6383868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685983" rtl="0" eaLnBrk="1" latinLnBrk="0" hangingPunct="1">
              <a:defRPr sz="625" kern="12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342991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83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974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966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957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949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940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932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charset="0"/>
              </a:rPr>
              <a:t>IBM Research / © 2023 IBM Corpor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5ED471-19A1-4C0C-5C31-F1D7D60F725E}"/>
              </a:ext>
            </a:extLst>
          </p:cNvPr>
          <p:cNvSpPr txBox="1"/>
          <p:nvPr/>
        </p:nvSpPr>
        <p:spPr>
          <a:xfrm>
            <a:off x="451556" y="4897453"/>
            <a:ext cx="48247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“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Promp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”: Image(s) (spatial + temporal domains)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E5279A4-F72E-C5F7-B391-BD2A2E381876}"/>
              </a:ext>
            </a:extLst>
          </p:cNvPr>
          <p:cNvCxnSpPr>
            <a:cxnSpLocks/>
          </p:cNvCxnSpPr>
          <p:nvPr/>
        </p:nvCxnSpPr>
        <p:spPr>
          <a:xfrm>
            <a:off x="5276334" y="3613757"/>
            <a:ext cx="31641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144EDBBB-6579-0381-4866-CCBB17FE950E}"/>
              </a:ext>
            </a:extLst>
          </p:cNvPr>
          <p:cNvSpPr txBox="1"/>
          <p:nvPr/>
        </p:nvSpPr>
        <p:spPr>
          <a:xfrm rot="18134156">
            <a:off x="5674924" y="2145050"/>
            <a:ext cx="16463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nsights: Flood detection</a:t>
            </a:r>
          </a:p>
        </p:txBody>
      </p:sp>
      <p:pic>
        <p:nvPicPr>
          <p:cNvPr id="11" name="Picture 10" descr="Table&#10;&#10;Description automatically generated">
            <a:extLst>
              <a:ext uri="{FF2B5EF4-FFF2-40B4-BE49-F238E27FC236}">
                <a16:creationId xmlns:a16="http://schemas.microsoft.com/office/drawing/2014/main" id="{3784EB2F-A1C0-B086-E42B-4CEE14B21324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219988" y="5306156"/>
            <a:ext cx="6208776" cy="149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09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y04hVQVGN03fNAEUZ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y04hVQVGN03fNAEUZ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b5pRq4SKCnvniorNbG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y04hVQVGN03fNAEUZvg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" id="{4C35AED2-0956-0D40-B36D-C06D62725AA8}" vid="{C4BA05BF-74B1-4B4C-B175-992815DE89C6}"/>
    </a:ext>
  </a:extLst>
</a:theme>
</file>

<file path=ppt/theme/theme5.xml><?xml version="1.0" encoding="utf-8"?>
<a:theme xmlns:a="http://schemas.openxmlformats.org/drawingml/2006/main" name="1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6.xml><?xml version="1.0" encoding="utf-8"?>
<a:theme xmlns:a="http://schemas.openxmlformats.org/drawingml/2006/main" name="3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7.xml><?xml version="1.0" encoding="utf-8"?>
<a:theme xmlns:a="http://schemas.openxmlformats.org/drawingml/2006/main" name="2_IBM 2020 Master template (black background)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12771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685983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IBM Plex Sans" charset="0"/>
            <a:ea typeface="IBM Plex Sans" charset="0"/>
            <a:cs typeface="IBM Plex Sans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Final_GTO_Template_v4.potx" id="{80C343FD-542F-1F44-8628-D189644D4F2D}" vid="{5F2FE42D-7B88-E846-88EF-0FDAD244EA26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</TotalTime>
  <Words>993</Words>
  <Application>Microsoft Macintosh PowerPoint</Application>
  <PresentationFormat>Widescreen</PresentationFormat>
  <Paragraphs>121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0" baseType="lpstr">
      <vt:lpstr>Söhne</vt:lpstr>
      <vt:lpstr>Arial</vt:lpstr>
      <vt:lpstr>Calibri</vt:lpstr>
      <vt:lpstr>Calibri Light</vt:lpstr>
      <vt:lpstr>Courier New</vt:lpstr>
      <vt:lpstr>IBM Plex Sans</vt:lpstr>
      <vt:lpstr>IBM Plex Sans Light</vt:lpstr>
      <vt:lpstr>Raleway</vt:lpstr>
      <vt:lpstr>Trebuchet MS</vt:lpstr>
      <vt:lpstr>Wingdings</vt:lpstr>
      <vt:lpstr>IBM Brand Template 2022</vt:lpstr>
      <vt:lpstr>1_Office Theme</vt:lpstr>
      <vt:lpstr>2_Office Theme</vt:lpstr>
      <vt:lpstr>2_IBM Brand Template 2022</vt:lpstr>
      <vt:lpstr>1_IBM Brand Template 2022</vt:lpstr>
      <vt:lpstr>3_IBM Brand Template 2022</vt:lpstr>
      <vt:lpstr>2_IBM 2020 Master template (black background)</vt:lpstr>
      <vt:lpstr>think-cell Slide</vt:lpstr>
      <vt:lpstr>Geospatial Foundation Model</vt:lpstr>
      <vt:lpstr>Executive Summary</vt:lpstr>
      <vt:lpstr>Geospatial Foundation Models</vt:lpstr>
      <vt:lpstr>PowerPoint Presentation</vt:lpstr>
      <vt:lpstr>Initial approach to Training Models: Remote Sensing Data</vt:lpstr>
      <vt:lpstr>Pre-training a HLS2 Foundation Model</vt:lpstr>
      <vt:lpstr>Family of models</vt:lpstr>
      <vt:lpstr>Example downstream Task: Flood Mapping</vt:lpstr>
      <vt:lpstr>Inference insights by Prithvi – Flood Mapping</vt:lpstr>
      <vt:lpstr>Inference insights by Prithvi – Fire Scar Mapping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thvi - Geospatial foundation model — Update </dc:title>
  <dc:creator>Raghu k Ganti</dc:creator>
  <cp:lastModifiedBy>Linsong Chu</cp:lastModifiedBy>
  <cp:revision>7</cp:revision>
  <dcterms:created xsi:type="dcterms:W3CDTF">2023-05-22T17:45:28Z</dcterms:created>
  <dcterms:modified xsi:type="dcterms:W3CDTF">2023-05-26T16:44:43Z</dcterms:modified>
</cp:coreProperties>
</file>